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20"/>
  </p:notesMasterIdLst>
  <p:sldIdLst>
    <p:sldId id="256" r:id="rId5"/>
    <p:sldId id="310" r:id="rId6"/>
    <p:sldId id="311" r:id="rId7"/>
    <p:sldId id="289" r:id="rId8"/>
    <p:sldId id="291" r:id="rId9"/>
    <p:sldId id="296" r:id="rId10"/>
    <p:sldId id="312" r:id="rId11"/>
    <p:sldId id="297" r:id="rId12"/>
    <p:sldId id="293" r:id="rId13"/>
    <p:sldId id="298" r:id="rId14"/>
    <p:sldId id="294" r:id="rId15"/>
    <p:sldId id="287" r:id="rId16"/>
    <p:sldId id="308" r:id="rId17"/>
    <p:sldId id="288" r:id="rId18"/>
    <p:sldId id="309" r:id="rId19"/>
  </p:sldIdLst>
  <p:sldSz cx="12192000" cy="6858000"/>
  <p:notesSz cx="6797675" cy="9926638"/>
  <p:custDataLst>
    <p:tags r:id="rId2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7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62B374-AE0F-4218-B741-3C5217EEC32F}" type="datetimeFigureOut">
              <a:rPr lang="nb-NO" smtClean="0"/>
              <a:t>30.09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BC22B-0EED-4469-B3D5-49218CFBD1D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236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mørkt">
    <p:bg>
      <p:bgPr>
        <a:gradFill flip="none" rotWithShape="1">
          <a:gsLst>
            <a:gs pos="60000">
              <a:schemeClr val="tx1"/>
            </a:gs>
            <a:gs pos="100000">
              <a:schemeClr val="tx1">
                <a:alpha val="75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e 14"/>
          <p:cNvGrpSpPr/>
          <p:nvPr userDrawn="1"/>
        </p:nvGrpSpPr>
        <p:grpSpPr>
          <a:xfrm>
            <a:off x="5759860" y="2094550"/>
            <a:ext cx="7250507" cy="5334079"/>
            <a:chOff x="5118191" y="2170455"/>
            <a:chExt cx="4639583" cy="4551020"/>
          </a:xfrm>
        </p:grpSpPr>
        <p:sp>
          <p:nvSpPr>
            <p:cNvPr id="12" name="Ellipse 11"/>
            <p:cNvSpPr/>
            <p:nvPr userDrawn="1"/>
          </p:nvSpPr>
          <p:spPr>
            <a:xfrm>
              <a:off x="7879559" y="2170455"/>
              <a:ext cx="1878215" cy="1878215"/>
            </a:xfrm>
            <a:prstGeom prst="ellipse">
              <a:avLst/>
            </a:prstGeom>
            <a:solidFill>
              <a:srgbClr val="0029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sp>
          <p:nvSpPr>
            <p:cNvPr id="13" name="Ellipse 12"/>
            <p:cNvSpPr/>
            <p:nvPr userDrawn="1"/>
          </p:nvSpPr>
          <p:spPr>
            <a:xfrm>
              <a:off x="7879559" y="4843260"/>
              <a:ext cx="1878215" cy="1878215"/>
            </a:xfrm>
            <a:prstGeom prst="ellipse">
              <a:avLst/>
            </a:prstGeom>
            <a:solidFill>
              <a:srgbClr val="0029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r>
                <a:rPr lang="nb-NO" sz="2583" dirty="0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5118191" y="4843260"/>
              <a:ext cx="1878215" cy="1878215"/>
            </a:xfrm>
            <a:prstGeom prst="ellipse">
              <a:avLst/>
            </a:prstGeom>
            <a:solidFill>
              <a:srgbClr val="0029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r>
                <a:rPr lang="nb-NO" sz="2583" dirty="0">
                  <a:solidFill>
                    <a:prstClr val="white"/>
                  </a:solidFill>
                </a:rPr>
                <a:t> </a:t>
              </a:r>
            </a:p>
          </p:txBody>
        </p:sp>
      </p:grp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433477" y="1628426"/>
            <a:ext cx="10233596" cy="784812"/>
          </a:xfrm>
          <a:prstGeom prst="rect">
            <a:avLst/>
          </a:prstGeom>
        </p:spPr>
        <p:txBody>
          <a:bodyPr wrap="square" lIns="91423" tIns="45711" rIns="91423" bIns="45711" anchor="b" anchorCtr="0">
            <a:spAutoFit/>
          </a:bodyPr>
          <a:lstStyle>
            <a:lvl1pPr algn="l">
              <a:defRPr sz="45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9" name="Rett linje 8"/>
          <p:cNvCxnSpPr/>
          <p:nvPr userDrawn="1"/>
        </p:nvCxnSpPr>
        <p:spPr>
          <a:xfrm flipH="1" flipV="1">
            <a:off x="1635710" y="2523454"/>
            <a:ext cx="10839696" cy="2498"/>
          </a:xfrm>
          <a:prstGeom prst="line">
            <a:avLst/>
          </a:prstGeom>
          <a:ln w="63500" cap="rnd" cmpd="sng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57520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ly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Rett linje 10"/>
          <p:cNvCxnSpPr/>
          <p:nvPr userDrawn="1"/>
        </p:nvCxnSpPr>
        <p:spPr>
          <a:xfrm flipV="1">
            <a:off x="1179498" y="1707936"/>
            <a:ext cx="0" cy="5150069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" name="Gruppe 2"/>
          <p:cNvGrpSpPr/>
          <p:nvPr userDrawn="1"/>
        </p:nvGrpSpPr>
        <p:grpSpPr>
          <a:xfrm>
            <a:off x="9961469" y="4062593"/>
            <a:ext cx="2768488" cy="3272765"/>
            <a:chOff x="7102946" y="2925380"/>
            <a:chExt cx="2339414" cy="3687381"/>
          </a:xfrm>
          <a:solidFill>
            <a:srgbClr val="E7E9F5"/>
          </a:solidFill>
        </p:grpSpPr>
        <p:sp>
          <p:nvSpPr>
            <p:cNvPr id="5" name="Ellipse 4"/>
            <p:cNvSpPr/>
            <p:nvPr userDrawn="1"/>
          </p:nvSpPr>
          <p:spPr>
            <a:xfrm>
              <a:off x="8495309" y="2925380"/>
              <a:ext cx="947051" cy="947051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sp>
          <p:nvSpPr>
            <p:cNvPr id="6" name="Ellipse 5"/>
            <p:cNvSpPr/>
            <p:nvPr userDrawn="1"/>
          </p:nvSpPr>
          <p:spPr>
            <a:xfrm>
              <a:off x="8495309" y="4273087"/>
              <a:ext cx="947051" cy="947051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r>
                <a:rPr lang="nb-NO" sz="2583" dirty="0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7" name="Ellipse 6"/>
            <p:cNvSpPr/>
            <p:nvPr userDrawn="1"/>
          </p:nvSpPr>
          <p:spPr>
            <a:xfrm>
              <a:off x="7102946" y="4273087"/>
              <a:ext cx="947051" cy="947051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r>
                <a:rPr lang="nb-NO" sz="2583" dirty="0">
                  <a:solidFill>
                    <a:prstClr val="white"/>
                  </a:solidFill>
                </a:rPr>
                <a:t> </a:t>
              </a:r>
            </a:p>
          </p:txBody>
        </p:sp>
        <p:sp>
          <p:nvSpPr>
            <p:cNvPr id="8" name="Ellipse 7"/>
            <p:cNvSpPr/>
            <p:nvPr userDrawn="1"/>
          </p:nvSpPr>
          <p:spPr>
            <a:xfrm>
              <a:off x="8495309" y="5665710"/>
              <a:ext cx="947051" cy="947051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r>
                <a:rPr lang="nb-NO" sz="2583" dirty="0">
                  <a:solidFill>
                    <a:prstClr val="white"/>
                  </a:solidFill>
                </a:rPr>
                <a:t> </a:t>
              </a:r>
            </a:p>
          </p:txBody>
        </p:sp>
      </p:grp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1433477" y="1628426"/>
            <a:ext cx="10233596" cy="784812"/>
          </a:xfrm>
          <a:prstGeom prst="rect">
            <a:avLst/>
          </a:prstGeom>
        </p:spPr>
        <p:txBody>
          <a:bodyPr wrap="square" lIns="91423" tIns="45711" rIns="91423" bIns="45711" anchor="b" anchorCtr="0">
            <a:spAutoFit/>
          </a:bodyPr>
          <a:lstStyle>
            <a:lvl1pPr algn="l">
              <a:defRPr sz="45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6049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aldsoversikt med bi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innhold 2"/>
          <p:cNvSpPr>
            <a:spLocks noGrp="1"/>
          </p:cNvSpPr>
          <p:nvPr>
            <p:ph idx="10" hasCustomPrompt="1"/>
          </p:nvPr>
        </p:nvSpPr>
        <p:spPr>
          <a:xfrm>
            <a:off x="609600" y="3567662"/>
            <a:ext cx="6549112" cy="1787653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285681" indent="-285681">
              <a:buFont typeface="Arial"/>
              <a:buChar char="•"/>
              <a:defRPr sz="2417">
                <a:latin typeface="Arial"/>
                <a:cs typeface="Arial"/>
              </a:defRPr>
            </a:lvl1pPr>
            <a:lvl2pPr>
              <a:defRPr sz="1417">
                <a:latin typeface="ScalaSans"/>
                <a:cs typeface="ScalaSans"/>
              </a:defRPr>
            </a:lvl2pPr>
            <a:lvl3pPr>
              <a:defRPr sz="1167">
                <a:latin typeface="ScalaSans"/>
                <a:cs typeface="ScalaSans"/>
              </a:defRPr>
            </a:lvl3pPr>
            <a:lvl4pPr>
              <a:defRPr sz="1083">
                <a:latin typeface="ScalaSans"/>
                <a:cs typeface="ScalaSans"/>
              </a:defRPr>
            </a:lvl4pPr>
            <a:lvl5pPr>
              <a:defRPr sz="1083">
                <a:latin typeface="ScalaSans"/>
                <a:cs typeface="ScalaSans"/>
              </a:defRPr>
            </a:lvl5pPr>
          </a:lstStyle>
          <a:p>
            <a:pPr lvl="0"/>
            <a:r>
              <a:rPr lang="nb-NO" dirty="0" smtClean="0"/>
              <a:t>Sak 1</a:t>
            </a:r>
          </a:p>
          <a:p>
            <a:pPr lvl="0"/>
            <a:r>
              <a:rPr lang="nb-NO" dirty="0" smtClean="0"/>
              <a:t>Sak 2</a:t>
            </a:r>
          </a:p>
          <a:p>
            <a:pPr lvl="0"/>
            <a:r>
              <a:rPr lang="nb-NO" dirty="0" smtClean="0"/>
              <a:t>Sak 3</a:t>
            </a:r>
          </a:p>
          <a:p>
            <a:pPr lvl="0"/>
            <a:r>
              <a:rPr lang="nb-NO" dirty="0" smtClean="0"/>
              <a:t>Sak 4</a:t>
            </a: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1"/>
          </p:nvPr>
        </p:nvSpPr>
        <p:spPr>
          <a:xfrm>
            <a:off x="7636934" y="3182938"/>
            <a:ext cx="4133851" cy="3368675"/>
          </a:xfrm>
          <a:prstGeom prst="rect">
            <a:avLst/>
          </a:prstGeom>
        </p:spPr>
        <p:txBody>
          <a:bodyPr vert="horz" lIns="91423" tIns="45711" rIns="91423" bIns="45711"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cxnSp>
        <p:nvCxnSpPr>
          <p:cNvPr id="10" name="Rett linje 9"/>
          <p:cNvCxnSpPr/>
          <p:nvPr userDrawn="1"/>
        </p:nvCxnSpPr>
        <p:spPr>
          <a:xfrm>
            <a:off x="-152400" y="3144179"/>
            <a:ext cx="12513733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ittel 1"/>
          <p:cNvSpPr>
            <a:spLocks noGrp="1"/>
          </p:cNvSpPr>
          <p:nvPr>
            <p:ph type="ctrTitle"/>
          </p:nvPr>
        </p:nvSpPr>
        <p:spPr>
          <a:xfrm>
            <a:off x="609600" y="2186011"/>
            <a:ext cx="8517467" cy="643684"/>
          </a:xfrm>
          <a:prstGeom prst="rect">
            <a:avLst/>
          </a:prstGeom>
        </p:spPr>
        <p:txBody>
          <a:bodyPr wrap="square" lIns="91423" tIns="45711" rIns="91423" bIns="45711" anchor="b" anchorCtr="0">
            <a:spAutoFit/>
          </a:bodyPr>
          <a:lstStyle>
            <a:lvl1pPr algn="l">
              <a:defRPr sz="3583" b="1">
                <a:latin typeface="Arial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pic>
        <p:nvPicPr>
          <p:cNvPr id="8" name="Bilde 7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436551"/>
            <a:ext cx="3230880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49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meng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2" y="2070101"/>
            <a:ext cx="10694858" cy="464276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0" indent="0">
              <a:buFontTx/>
              <a:buNone/>
              <a:defRPr sz="2417">
                <a:latin typeface="Arial"/>
                <a:cs typeface="Arial"/>
              </a:defRPr>
            </a:lvl1pPr>
            <a:lvl2pPr>
              <a:defRPr sz="1417">
                <a:latin typeface="ScalaSans"/>
                <a:cs typeface="ScalaSans"/>
              </a:defRPr>
            </a:lvl2pPr>
            <a:lvl3pPr>
              <a:defRPr sz="1167">
                <a:latin typeface="ScalaSans"/>
                <a:cs typeface="ScalaSans"/>
              </a:defRPr>
            </a:lvl3pPr>
            <a:lvl4pPr>
              <a:defRPr sz="1083">
                <a:latin typeface="ScalaSans"/>
                <a:cs typeface="ScalaSans"/>
              </a:defRPr>
            </a:lvl4pPr>
            <a:lvl5pPr>
              <a:defRPr sz="1083">
                <a:latin typeface="ScalaSans"/>
                <a:cs typeface="ScalaSans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609600" y="710162"/>
            <a:ext cx="8517467" cy="643684"/>
          </a:xfrm>
          <a:prstGeom prst="rect">
            <a:avLst/>
          </a:prstGeom>
        </p:spPr>
        <p:txBody>
          <a:bodyPr wrap="square" lIns="91423" tIns="45711" rIns="91423" bIns="45711" anchor="t">
            <a:spAutoFit/>
          </a:bodyPr>
          <a:lstStyle>
            <a:lvl1pPr algn="l">
              <a:defRPr sz="3583" b="1">
                <a:latin typeface="Arial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10" name="Rett linje 9"/>
          <p:cNvCxnSpPr/>
          <p:nvPr userDrawn="1"/>
        </p:nvCxnSpPr>
        <p:spPr>
          <a:xfrm>
            <a:off x="0" y="367858"/>
            <a:ext cx="10126675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10673644" y="1725452"/>
            <a:ext cx="1948112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3" name="Gruppe 12"/>
          <p:cNvGrpSpPr/>
          <p:nvPr userDrawn="1"/>
        </p:nvGrpSpPr>
        <p:grpSpPr>
          <a:xfrm>
            <a:off x="9390796" y="344549"/>
            <a:ext cx="1913664" cy="1416312"/>
            <a:chOff x="1361705" y="363625"/>
            <a:chExt cx="509429" cy="502708"/>
          </a:xfrm>
          <a:solidFill>
            <a:srgbClr val="E7E9F5"/>
          </a:solidFill>
        </p:grpSpPr>
        <p:sp>
          <p:nvSpPr>
            <p:cNvPr id="14" name="Ellipse 13"/>
            <p:cNvSpPr/>
            <p:nvPr userDrawn="1"/>
          </p:nvSpPr>
          <p:spPr>
            <a:xfrm>
              <a:off x="1550088" y="363625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1550088" y="733671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grpSp>
          <p:nvGrpSpPr>
            <p:cNvPr id="16" name="Gruppe 15"/>
            <p:cNvGrpSpPr/>
            <p:nvPr userDrawn="1"/>
          </p:nvGrpSpPr>
          <p:grpSpPr>
            <a:xfrm>
              <a:off x="1361705" y="548648"/>
              <a:ext cx="509429" cy="132662"/>
              <a:chOff x="1361705" y="551638"/>
              <a:chExt cx="509429" cy="132662"/>
            </a:xfrm>
            <a:grpFill/>
          </p:grpSpPr>
          <p:sp>
            <p:nvSpPr>
              <p:cNvPr id="18" name="Ellipse 17"/>
              <p:cNvSpPr/>
              <p:nvPr userDrawn="1"/>
            </p:nvSpPr>
            <p:spPr>
              <a:xfrm>
                <a:off x="1552204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Ellipse 18"/>
              <p:cNvSpPr/>
              <p:nvPr userDrawn="1"/>
            </p:nvSpPr>
            <p:spPr>
              <a:xfrm>
                <a:off x="1361705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Ellipse 19"/>
              <p:cNvSpPr/>
              <p:nvPr userDrawn="1"/>
            </p:nvSpPr>
            <p:spPr>
              <a:xfrm>
                <a:off x="1738472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2" name="Bilde 21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092750"/>
            <a:ext cx="3230880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98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ald med punkt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2" y="2066905"/>
            <a:ext cx="10694860" cy="2233930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>
              <a:defRPr sz="2417">
                <a:latin typeface="Arial"/>
                <a:cs typeface="Arial"/>
              </a:defRPr>
            </a:lvl1pPr>
            <a:lvl2pPr>
              <a:defRPr sz="2417">
                <a:latin typeface="Arial"/>
                <a:cs typeface="Arial"/>
              </a:defRPr>
            </a:lvl2pPr>
            <a:lvl3pPr>
              <a:defRPr sz="2417">
                <a:latin typeface="Arial"/>
                <a:cs typeface="Arial"/>
              </a:defRPr>
            </a:lvl3pPr>
            <a:lvl4pPr>
              <a:defRPr sz="2417">
                <a:latin typeface="Arial"/>
                <a:cs typeface="Arial"/>
              </a:defRPr>
            </a:lvl4pPr>
            <a:lvl5pPr>
              <a:defRPr sz="2417">
                <a:latin typeface="Arial"/>
                <a:cs typeface="Arial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cxnSp>
        <p:nvCxnSpPr>
          <p:cNvPr id="20" name="Rett linje 19"/>
          <p:cNvCxnSpPr/>
          <p:nvPr userDrawn="1"/>
        </p:nvCxnSpPr>
        <p:spPr>
          <a:xfrm>
            <a:off x="0" y="367858"/>
            <a:ext cx="10126675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/>
          <p:cNvCxnSpPr/>
          <p:nvPr userDrawn="1"/>
        </p:nvCxnSpPr>
        <p:spPr>
          <a:xfrm>
            <a:off x="10673644" y="1725452"/>
            <a:ext cx="1948112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uppe 21"/>
          <p:cNvGrpSpPr/>
          <p:nvPr userDrawn="1"/>
        </p:nvGrpSpPr>
        <p:grpSpPr>
          <a:xfrm>
            <a:off x="9390796" y="344549"/>
            <a:ext cx="1913664" cy="1416312"/>
            <a:chOff x="1361705" y="363625"/>
            <a:chExt cx="509429" cy="502708"/>
          </a:xfrm>
          <a:solidFill>
            <a:srgbClr val="E7E9F5"/>
          </a:solidFill>
        </p:grpSpPr>
        <p:sp>
          <p:nvSpPr>
            <p:cNvPr id="23" name="Ellipse 22"/>
            <p:cNvSpPr/>
            <p:nvPr userDrawn="1"/>
          </p:nvSpPr>
          <p:spPr>
            <a:xfrm>
              <a:off x="1550088" y="363625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1550088" y="733671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91"/>
              <a:endParaRPr lang="nb-NO" sz="2583">
                <a:solidFill>
                  <a:prstClr val="white"/>
                </a:solidFill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1361705" y="548648"/>
              <a:ext cx="509429" cy="132662"/>
              <a:chOff x="1361705" y="551638"/>
              <a:chExt cx="509429" cy="132662"/>
            </a:xfrm>
            <a:grpFill/>
          </p:grpSpPr>
          <p:sp>
            <p:nvSpPr>
              <p:cNvPr id="26" name="Ellipse 25"/>
              <p:cNvSpPr/>
              <p:nvPr userDrawn="1"/>
            </p:nvSpPr>
            <p:spPr>
              <a:xfrm>
                <a:off x="1552204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Ellipse 26"/>
              <p:cNvSpPr/>
              <p:nvPr userDrawn="1"/>
            </p:nvSpPr>
            <p:spPr>
              <a:xfrm>
                <a:off x="1361705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Ellipse 27"/>
              <p:cNvSpPr/>
              <p:nvPr userDrawn="1"/>
            </p:nvSpPr>
            <p:spPr>
              <a:xfrm>
                <a:off x="1738472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91"/>
                <a:endParaRPr lang="nb-NO" sz="2583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9" name="Tittel 1"/>
          <p:cNvSpPr>
            <a:spLocks noGrp="1"/>
          </p:cNvSpPr>
          <p:nvPr>
            <p:ph type="ctrTitle"/>
          </p:nvPr>
        </p:nvSpPr>
        <p:spPr>
          <a:xfrm>
            <a:off x="609600" y="710162"/>
            <a:ext cx="8517467" cy="643684"/>
          </a:xfrm>
          <a:prstGeom prst="rect">
            <a:avLst/>
          </a:prstGeom>
        </p:spPr>
        <p:txBody>
          <a:bodyPr wrap="square" lIns="91423" tIns="45711" rIns="91423" bIns="45711" anchor="t">
            <a:spAutoFit/>
          </a:bodyPr>
          <a:lstStyle>
            <a:lvl1pPr algn="l">
              <a:defRPr sz="3583" b="1">
                <a:latin typeface="Arial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pic>
        <p:nvPicPr>
          <p:cNvPr id="2" name="Bilde 1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092750"/>
            <a:ext cx="3230880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77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sshaldar til bi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3" tIns="45711" rIns="91423" bIns="45711"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940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 noProof="0" smtClean="0"/>
              <a:t>Rediger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n-NO" noProof="0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30.09.2020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ye Førde sjukehu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rmAutofit/>
          </a:bodyPr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nn-NO" noProof="0" dirty="0" smtClean="0"/>
              <a:t>Overskrift 1 linje</a:t>
            </a:r>
            <a:endParaRPr lang="nn-NO" noProof="0" dirty="0"/>
          </a:p>
        </p:txBody>
      </p:sp>
    </p:spTree>
    <p:extLst>
      <p:ext uri="{BB962C8B-B14F-4D97-AF65-F5344CB8AC3E}">
        <p14:creationId xmlns:p14="http://schemas.microsoft.com/office/powerpoint/2010/main" val="190752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1155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42592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091" rtl="0" eaLnBrk="1" latinLnBrk="0" hangingPunct="1">
        <a:spcBef>
          <a:spcPct val="0"/>
        </a:spcBef>
        <a:buNone/>
        <a:defRPr sz="4416" b="0" i="0" kern="1200">
          <a:solidFill>
            <a:schemeClr val="tx1"/>
          </a:solidFill>
          <a:latin typeface="ScalaSans-Bold"/>
          <a:ea typeface="+mj-ea"/>
          <a:cs typeface="ScalaSans-Bold"/>
        </a:defRPr>
      </a:lvl1pPr>
    </p:titleStyle>
    <p:bodyStyle>
      <a:lvl1pPr marL="342818" indent="-342818" algn="l" defTabSz="457091" rtl="0" eaLnBrk="1" latinLnBrk="0" hangingPunct="1">
        <a:spcBef>
          <a:spcPct val="20000"/>
        </a:spcBef>
        <a:buFont typeface="Arial"/>
        <a:buChar char="•"/>
        <a:defRPr sz="325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3" indent="-285681" algn="l" defTabSz="457091" rtl="0" eaLnBrk="1" latinLnBrk="0" hangingPunct="1">
        <a:spcBef>
          <a:spcPct val="20000"/>
        </a:spcBef>
        <a:buFont typeface="Arial"/>
        <a:buChar char="–"/>
        <a:defRPr sz="28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726" indent="-228545" algn="l" defTabSz="457091" rtl="0" eaLnBrk="1" latinLnBrk="0" hangingPunct="1">
        <a:spcBef>
          <a:spcPct val="20000"/>
        </a:spcBef>
        <a:buFont typeface="Arial"/>
        <a:buChar char="•"/>
        <a:defRPr sz="2417" kern="1200">
          <a:solidFill>
            <a:schemeClr val="tx1"/>
          </a:solidFill>
          <a:latin typeface="+mn-lt"/>
          <a:ea typeface="+mn-ea"/>
          <a:cs typeface="+mn-cs"/>
        </a:defRPr>
      </a:lvl3pPr>
      <a:lvl4pPr marL="1599817" indent="-228545" algn="l" defTabSz="457091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08" indent="-228545" algn="l" defTabSz="457091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98" indent="-228545" algn="l" defTabSz="45709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87" indent="-228545" algn="l" defTabSz="45709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77" indent="-228545" algn="l" defTabSz="45709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68" indent="-228545" algn="l" defTabSz="45709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1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2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71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60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51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43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34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22" algn="l" defTabSz="457091" rtl="0" eaLnBrk="1" latinLnBrk="0" hangingPunct="1">
        <a:defRPr sz="17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tags" Target="../tags/tag63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76" Type="http://schemas.openxmlformats.org/officeDocument/2006/relationships/tags" Target="../tags/tag100.xml"/><Relationship Id="rId84" Type="http://schemas.openxmlformats.org/officeDocument/2006/relationships/tags" Target="../tags/tag108.xml"/><Relationship Id="rId89" Type="http://schemas.openxmlformats.org/officeDocument/2006/relationships/tags" Target="../tags/tag113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66" Type="http://schemas.openxmlformats.org/officeDocument/2006/relationships/tags" Target="../tags/tag90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87" Type="http://schemas.openxmlformats.org/officeDocument/2006/relationships/tags" Target="../tags/tag111.xml"/><Relationship Id="rId5" Type="http://schemas.openxmlformats.org/officeDocument/2006/relationships/tags" Target="../tags/tag29.xml"/><Relationship Id="rId61" Type="http://schemas.openxmlformats.org/officeDocument/2006/relationships/tags" Target="../tags/tag85.xml"/><Relationship Id="rId82" Type="http://schemas.openxmlformats.org/officeDocument/2006/relationships/tags" Target="../tags/tag106.xml"/><Relationship Id="rId90" Type="http://schemas.openxmlformats.org/officeDocument/2006/relationships/tags" Target="../tags/tag114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56" Type="http://schemas.openxmlformats.org/officeDocument/2006/relationships/tags" Target="../tags/tag80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77" Type="http://schemas.openxmlformats.org/officeDocument/2006/relationships/tags" Target="../tags/tag101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80" Type="http://schemas.openxmlformats.org/officeDocument/2006/relationships/tags" Target="../tags/tag104.xml"/><Relationship Id="rId85" Type="http://schemas.openxmlformats.org/officeDocument/2006/relationships/tags" Target="../tags/tag109.xml"/><Relationship Id="rId93" Type="http://schemas.openxmlformats.org/officeDocument/2006/relationships/oleObject" Target="../embeddings/oleObject14.bin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tags" Target="../tags/tag70.xml"/><Relationship Id="rId59" Type="http://schemas.openxmlformats.org/officeDocument/2006/relationships/tags" Target="../tags/tag83.xml"/><Relationship Id="rId67" Type="http://schemas.openxmlformats.org/officeDocument/2006/relationships/tags" Target="../tags/tag91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tags" Target="../tags/tag107.xml"/><Relationship Id="rId88" Type="http://schemas.openxmlformats.org/officeDocument/2006/relationships/tags" Target="../tags/tag112.xml"/><Relationship Id="rId91" Type="http://schemas.openxmlformats.org/officeDocument/2006/relationships/tags" Target="../tags/tag11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tags" Target="../tags/tag110.xml"/><Relationship Id="rId94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53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72306" y="3441728"/>
            <a:ext cx="11380746" cy="784812"/>
          </a:xfrm>
        </p:spPr>
        <p:txBody>
          <a:bodyPr/>
          <a:lstStyle/>
          <a:p>
            <a:pPr algn="ctr"/>
            <a:r>
              <a:rPr lang="nb-NO" dirty="0" smtClean="0"/>
              <a:t>Prehospital plan fase 3 – orientering.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0884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450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n-NO" sz="3583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609600" y="1402597"/>
            <a:ext cx="10694858" cy="880223"/>
          </a:xfrm>
        </p:spPr>
        <p:txBody>
          <a:bodyPr/>
          <a:lstStyle/>
          <a:p>
            <a:r>
              <a:rPr lang="nn-NO" sz="1600" dirty="0" smtClean="0">
                <a:solidFill>
                  <a:srgbClr val="000714"/>
                </a:solidFill>
              </a:rPr>
              <a:t>Styret </a:t>
            </a:r>
            <a:r>
              <a:rPr lang="nn-NO" sz="1600" dirty="0">
                <a:solidFill>
                  <a:srgbClr val="000714"/>
                </a:solidFill>
              </a:rPr>
              <a:t>sitt vedtak: </a:t>
            </a:r>
            <a:endParaRPr lang="nn-NO" sz="1600" dirty="0" smtClean="0">
              <a:solidFill>
                <a:srgbClr val="000714"/>
              </a:solidFill>
            </a:endParaRPr>
          </a:p>
          <a:p>
            <a:r>
              <a:rPr lang="nn-NO" sz="1600" i="1" dirty="0" smtClean="0">
                <a:solidFill>
                  <a:srgbClr val="000714"/>
                </a:solidFill>
              </a:rPr>
              <a:t>Styret </a:t>
            </a:r>
            <a:r>
              <a:rPr lang="nn-NO" sz="1600" i="1" dirty="0">
                <a:solidFill>
                  <a:srgbClr val="000714"/>
                </a:solidFill>
              </a:rPr>
              <a:t>ber administrerande direktør vurdere konsekvensar for dei </a:t>
            </a:r>
            <a:r>
              <a:rPr lang="nn-NO" sz="1600" i="1" dirty="0" err="1">
                <a:solidFill>
                  <a:srgbClr val="000714"/>
                </a:solidFill>
              </a:rPr>
              <a:t>prehospitale</a:t>
            </a:r>
            <a:r>
              <a:rPr lang="nn-NO" sz="1600" i="1" dirty="0">
                <a:solidFill>
                  <a:srgbClr val="000714"/>
                </a:solidFill>
              </a:rPr>
              <a:t> tenestene ved at Hornindal kommune er slegen saman med Volda kommune, og ikkje lenger er i Helse Førde sitt ansvarsområde. </a:t>
            </a:r>
          </a:p>
        </p:txBody>
      </p:sp>
      <p:sp>
        <p:nvSpPr>
          <p:cNvPr id="5" name="Tittel 4"/>
          <p:cNvSpPr>
            <a:spLocks noGrp="1"/>
          </p:cNvSpPr>
          <p:nvPr>
            <p:ph type="ctrTitle"/>
          </p:nvPr>
        </p:nvSpPr>
        <p:spPr>
          <a:xfrm>
            <a:off x="609600" y="207544"/>
            <a:ext cx="9518542" cy="1195053"/>
          </a:xfrm>
        </p:spPr>
        <p:txBody>
          <a:bodyPr/>
          <a:lstStyle/>
          <a:p>
            <a:r>
              <a:rPr lang="nn-NO" dirty="0" smtClean="0"/>
              <a:t>Forslag: Mandat arbeidsgruppe Hornindal - Volda</a:t>
            </a:r>
            <a:endParaRPr lang="nn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10</a:t>
            </a:fld>
            <a:endParaRPr lang="nb-NO"/>
          </a:p>
        </p:txBody>
      </p:sp>
      <p:sp>
        <p:nvSpPr>
          <p:cNvPr id="9" name="Plassholder for innhold 5"/>
          <p:cNvSpPr txBox="1">
            <a:spLocks/>
          </p:cNvSpPr>
          <p:nvPr/>
        </p:nvSpPr>
        <p:spPr>
          <a:xfrm>
            <a:off x="609600" y="2634292"/>
            <a:ext cx="10694858" cy="3293191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0" indent="0" algn="l" defTabSz="457091" rtl="0" eaLnBrk="1" latinLnBrk="0" hangingPunct="1">
              <a:spcBef>
                <a:spcPct val="20000"/>
              </a:spcBef>
              <a:buFontTx/>
              <a:buNone/>
              <a:defRPr sz="241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773" indent="-285681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41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2pPr>
            <a:lvl3pPr marL="1142726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116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3pPr>
            <a:lvl4pPr marL="1599817" indent="-228545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4pPr>
            <a:lvl5pPr marL="2056908" indent="-228545" algn="l" defTabSz="457091" rtl="0" eaLnBrk="1" latinLnBrk="0" hangingPunct="1">
              <a:spcBef>
                <a:spcPct val="20000"/>
              </a:spcBef>
              <a:buFont typeface="Arial"/>
              <a:buChar char="»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5pPr>
            <a:lvl6pPr marL="251399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6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n-NO" sz="1600" dirty="0" smtClean="0">
                <a:solidFill>
                  <a:srgbClr val="000714"/>
                </a:solidFill>
              </a:rPr>
              <a:t>Oppdrag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å gjennom prosjektrapport fase 2, styresak 24.01.2020 og mandat for fase 3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jennomføre ein prosess som sikrar involvering i samsvar med styrevedtak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Vurdere konsekvensane av at Hornindal ikkje lenger er ein del av Helse Førde sitt ansvarsområde knytt til:</a:t>
            </a:r>
          </a:p>
          <a:p>
            <a:pPr marL="1028523" lvl="1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Aktivitet ambulanse</a:t>
            </a:r>
            <a:endParaRPr lang="nn-NO" sz="1600" dirty="0">
              <a:solidFill>
                <a:srgbClr val="000714"/>
              </a:solidFill>
            </a:endParaRPr>
          </a:p>
          <a:p>
            <a:pPr marL="1028523" lvl="1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Behov </a:t>
            </a:r>
            <a:r>
              <a:rPr lang="nn-NO" sz="1600" dirty="0">
                <a:solidFill>
                  <a:srgbClr val="000714"/>
                </a:solidFill>
              </a:rPr>
              <a:t>for bilar/stasjonar</a:t>
            </a:r>
          </a:p>
          <a:p>
            <a:pPr marL="1028523" lvl="1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Økonom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Utarbeide eit saksunderlag som gir administrerande direktør grunnlag for å vurdere vidare proses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n-NO" sz="1600" dirty="0">
              <a:solidFill>
                <a:srgbClr val="000714"/>
              </a:solidFill>
            </a:endParaRPr>
          </a:p>
          <a:p>
            <a:r>
              <a:rPr lang="nn-NO" sz="1600" dirty="0" smtClean="0">
                <a:solidFill>
                  <a:srgbClr val="000714"/>
                </a:solidFill>
              </a:rPr>
              <a:t>Tidsfrist: 30.11.2020</a:t>
            </a:r>
          </a:p>
          <a:p>
            <a:endParaRPr lang="nn-NO" sz="1600" dirty="0" smtClean="0">
              <a:solidFill>
                <a:srgbClr val="0007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890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781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6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nb-NO" sz="3333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calaSans-Bold"/>
              <a:ea typeface="+mj-ea"/>
              <a:cs typeface="Arial" panose="020B0604020202020204" pitchFamily="34" charset="0"/>
              <a:sym typeface="ScalaSans-Bold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6889" y="812526"/>
            <a:ext cx="8701088" cy="720090"/>
          </a:xfrm>
        </p:spPr>
        <p:txBody>
          <a:bodyPr>
            <a:normAutofit/>
          </a:bodyPr>
          <a:lstStyle/>
          <a:p>
            <a:r>
              <a:rPr lang="nb-NO" sz="3333" dirty="0" smtClean="0">
                <a:solidFill>
                  <a:schemeClr val="tx1"/>
                </a:solidFill>
              </a:rPr>
              <a:t>Forslag: Arbeidsgruppe samhandling</a:t>
            </a:r>
            <a:endParaRPr lang="nb-NO" sz="3333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56042"/>
              </p:ext>
            </p:extLst>
          </p:nvPr>
        </p:nvGraphicFramePr>
        <p:xfrm>
          <a:off x="726889" y="1748735"/>
          <a:ext cx="10344009" cy="41240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8003">
                  <a:extLst>
                    <a:ext uri="{9D8B030D-6E8A-4147-A177-3AD203B41FA5}">
                      <a16:colId xmlns:a16="http://schemas.microsoft.com/office/drawing/2014/main" val="3126828780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391479876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9899839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Stian Sægrov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Helse Førde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err="1" smtClean="0">
                          <a:solidFill>
                            <a:schemeClr val="bg1"/>
                          </a:solidFill>
                        </a:rPr>
                        <a:t>gruppeleiar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7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une Larsen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657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ond Aamo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54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Margun Thu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02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(Evy-Helen Helleseth)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961065"/>
                  </a:ext>
                </a:extLst>
              </a:tr>
              <a:tr h="415612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eir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ennebø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smtClean="0">
                          <a:solidFill>
                            <a:srgbClr val="000714"/>
                          </a:solidFill>
                        </a:rPr>
                        <a:t>Vernetenesta</a:t>
                      </a:r>
                      <a:r>
                        <a:rPr lang="nn-NO" baseline="0" dirty="0" smtClean="0">
                          <a:solidFill>
                            <a:srgbClr val="000714"/>
                          </a:solidFill>
                        </a:rPr>
                        <a:t> </a:t>
                      </a:r>
                      <a:endParaRPr lang="nn-NO" dirty="0">
                        <a:solidFill>
                          <a:srgbClr val="00071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 dirty="0" smtClean="0">
                          <a:solidFill>
                            <a:srgbClr val="000714"/>
                          </a:solidFill>
                        </a:rPr>
                        <a:t>deltakar</a:t>
                      </a:r>
                      <a:endParaRPr lang="nn-NO" dirty="0">
                        <a:solidFill>
                          <a:srgbClr val="000714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799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homas Vingen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del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tad k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ommune, </a:t>
                      </a:r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gion Nordfjor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628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ry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Elise Albrektsen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gevaktspilo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6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gevak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20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Jan Tore Od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ukarrepresentan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053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66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768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698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n-NO" sz="3583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687093" y="1481165"/>
            <a:ext cx="10694858" cy="4185743"/>
          </a:xfrm>
        </p:spPr>
        <p:txBody>
          <a:bodyPr/>
          <a:lstStyle/>
          <a:p>
            <a:r>
              <a:rPr lang="nn-NO" sz="1400" dirty="0" smtClean="0">
                <a:solidFill>
                  <a:srgbClr val="000714"/>
                </a:solidFill>
              </a:rPr>
              <a:t>Tiltak i </a:t>
            </a:r>
            <a:r>
              <a:rPr lang="nn-NO" sz="1400" dirty="0" err="1" smtClean="0">
                <a:solidFill>
                  <a:srgbClr val="000714"/>
                </a:solidFill>
              </a:rPr>
              <a:t>prehospital</a:t>
            </a:r>
            <a:r>
              <a:rPr lang="nn-NO" sz="1400" dirty="0" smtClean="0">
                <a:solidFill>
                  <a:srgbClr val="000714"/>
                </a:solidFill>
              </a:rPr>
              <a:t> plan:</a:t>
            </a:r>
          </a:p>
          <a:p>
            <a:r>
              <a:rPr lang="nn-NO" sz="1400" dirty="0" smtClean="0">
                <a:solidFill>
                  <a:srgbClr val="000714"/>
                </a:solidFill>
              </a:rPr>
              <a:t>3.6 - Halde fram og utvikle samarbeidet med legevaktspiloten for å dele erfaringar knytt til virtuell kommunikasjon mellom lokalitetane.</a:t>
            </a:r>
          </a:p>
          <a:p>
            <a:r>
              <a:rPr lang="nn-NO" sz="1400" dirty="0" smtClean="0">
                <a:solidFill>
                  <a:srgbClr val="000714"/>
                </a:solidFill>
              </a:rPr>
              <a:t>5.4 - Samarbeide med kommunehelsetenesta og andre naudetatar om kompetansestyrking.</a:t>
            </a:r>
          </a:p>
          <a:p>
            <a:r>
              <a:rPr lang="nn-NO" sz="1400" dirty="0" smtClean="0">
                <a:solidFill>
                  <a:srgbClr val="000714"/>
                </a:solidFill>
              </a:rPr>
              <a:t>7.1 – Vidareføre eit ope og godt samarbeid med kommunane gjennom etablerte samarbeidsforum.</a:t>
            </a:r>
          </a:p>
          <a:p>
            <a:r>
              <a:rPr lang="nn-NO" sz="1400" dirty="0" smtClean="0">
                <a:solidFill>
                  <a:srgbClr val="000714"/>
                </a:solidFill>
              </a:rPr>
              <a:t>7.3 - Delta i system og opplæring for å hjelpe alle kommunar til å jobbe målretta med oppretting av akutthjelparordninga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n-NO" sz="1400" dirty="0">
              <a:solidFill>
                <a:srgbClr val="000714"/>
              </a:solidFill>
            </a:endParaRPr>
          </a:p>
          <a:p>
            <a:r>
              <a:rPr lang="nn-NO" sz="1400" dirty="0" smtClean="0">
                <a:solidFill>
                  <a:srgbClr val="000714"/>
                </a:solidFill>
              </a:rPr>
              <a:t>Oppdrag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400" dirty="0">
                <a:solidFill>
                  <a:srgbClr val="000714"/>
                </a:solidFill>
              </a:rPr>
              <a:t>Gå gjennom prosjektrapport fase 2, styresak 24.01.2020 og mandat for fase 3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400" dirty="0" smtClean="0">
                <a:solidFill>
                  <a:srgbClr val="000714"/>
                </a:solidFill>
              </a:rPr>
              <a:t>Involvere dei rette interessenta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400" dirty="0" smtClean="0">
                <a:solidFill>
                  <a:srgbClr val="000714"/>
                </a:solidFill>
              </a:rPr>
              <a:t>Skissere og føreslå for prosjektgruppa korleis tiltaka i planen kan gjennomførast</a:t>
            </a:r>
          </a:p>
          <a:p>
            <a:endParaRPr lang="nn-NO" sz="1400" dirty="0">
              <a:solidFill>
                <a:srgbClr val="000714"/>
              </a:solidFill>
            </a:endParaRPr>
          </a:p>
          <a:p>
            <a:r>
              <a:rPr lang="nn-NO" sz="1400" dirty="0" smtClean="0">
                <a:solidFill>
                  <a:srgbClr val="000714"/>
                </a:solidFill>
              </a:rPr>
              <a:t>Tidsfrist: 30.02.2021</a:t>
            </a:r>
          </a:p>
          <a:p>
            <a:endParaRPr lang="nn-NO" sz="1400" dirty="0" smtClean="0">
              <a:solidFill>
                <a:srgbClr val="000714"/>
              </a:solidFill>
            </a:endParaRPr>
          </a:p>
          <a:p>
            <a:endParaRPr lang="nn-NO" sz="1400" dirty="0">
              <a:solidFill>
                <a:srgbClr val="000714"/>
              </a:solidFill>
            </a:endParaRPr>
          </a:p>
          <a:p>
            <a:endParaRPr lang="nn-NO" sz="1400" dirty="0" smtClean="0">
              <a:solidFill>
                <a:srgbClr val="000714"/>
              </a:solidFill>
            </a:endParaRPr>
          </a:p>
          <a:p>
            <a:endParaRPr lang="nn-NO" sz="1400" dirty="0">
              <a:solidFill>
                <a:srgbClr val="000714"/>
              </a:solidFill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578603" y="361451"/>
            <a:ext cx="8517467" cy="1195053"/>
          </a:xfrm>
        </p:spPr>
        <p:txBody>
          <a:bodyPr/>
          <a:lstStyle/>
          <a:p>
            <a:r>
              <a:rPr lang="nn-NO" dirty="0" smtClean="0"/>
              <a:t>Forslag: Mandat arbeidsgruppe samhandling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28565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66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n-NO" sz="4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n-NO" dirty="0" smtClean="0"/>
              <a:t>Utkast overordna tidsplan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30048414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08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93" imgW="353" imgH="353" progId="TCLayout.ActiveDocument.1">
                  <p:embed/>
                </p:oleObj>
              </mc:Choice>
              <mc:Fallback>
                <p:oleObj name="think-cell Slide" r:id="rId93" imgW="353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n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25216" y="228013"/>
            <a:ext cx="10233596" cy="784812"/>
          </a:xfrm>
        </p:spPr>
        <p:txBody>
          <a:bodyPr/>
          <a:lstStyle/>
          <a:p>
            <a:r>
              <a:rPr lang="nn-NO" dirty="0" smtClean="0">
                <a:solidFill>
                  <a:srgbClr val="002060"/>
                </a:solidFill>
              </a:rPr>
              <a:t>Utkast overordna tidsplan</a:t>
            </a:r>
            <a:endParaRPr lang="nn-NO" dirty="0">
              <a:solidFill>
                <a:srgbClr val="002060"/>
              </a:solidFill>
            </a:endParaRPr>
          </a:p>
        </p:txBody>
      </p:sp>
      <p:sp>
        <p:nvSpPr>
          <p:cNvPr id="13" name="Rektangel 12"/>
          <p:cNvSpPr/>
          <p:nvPr>
            <p:custDataLst>
              <p:tags r:id="rId4"/>
            </p:custDataLst>
          </p:nvPr>
        </p:nvSpPr>
        <p:spPr bwMode="auto">
          <a:xfrm>
            <a:off x="287338" y="3479801"/>
            <a:ext cx="11387138" cy="415925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2" name="Rektangel 11"/>
          <p:cNvSpPr/>
          <p:nvPr>
            <p:custDataLst>
              <p:tags r:id="rId5"/>
            </p:custDataLst>
          </p:nvPr>
        </p:nvSpPr>
        <p:spPr bwMode="auto">
          <a:xfrm>
            <a:off x="287338" y="3013075"/>
            <a:ext cx="11387138" cy="466725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5" name="Rektangel 14"/>
          <p:cNvSpPr/>
          <p:nvPr>
            <p:custDataLst>
              <p:tags r:id="rId6"/>
            </p:custDataLst>
          </p:nvPr>
        </p:nvSpPr>
        <p:spPr bwMode="auto">
          <a:xfrm>
            <a:off x="287338" y="4311650"/>
            <a:ext cx="11387138" cy="466725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4" name="Rektangel 13"/>
          <p:cNvSpPr/>
          <p:nvPr>
            <p:custDataLst>
              <p:tags r:id="rId7"/>
            </p:custDataLst>
          </p:nvPr>
        </p:nvSpPr>
        <p:spPr bwMode="auto">
          <a:xfrm>
            <a:off x="287338" y="3895726"/>
            <a:ext cx="11387138" cy="415925"/>
          </a:xfrm>
          <a:prstGeom prst="rect">
            <a:avLst/>
          </a:prstGeom>
          <a:solidFill>
            <a:srgbClr val="DFE5E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22" name="Rektangel 21"/>
          <p:cNvSpPr/>
          <p:nvPr>
            <p:custDataLst>
              <p:tags r:id="rId8"/>
            </p:custDataLst>
          </p:nvPr>
        </p:nvSpPr>
        <p:spPr bwMode="auto">
          <a:xfrm>
            <a:off x="1906588" y="1663700"/>
            <a:ext cx="2452688" cy="44640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10" name="Rektangel 109"/>
          <p:cNvSpPr/>
          <p:nvPr>
            <p:custDataLst>
              <p:tags r:id="rId9"/>
            </p:custDataLst>
          </p:nvPr>
        </p:nvSpPr>
        <p:spPr bwMode="auto">
          <a:xfrm>
            <a:off x="1901824" y="1143000"/>
            <a:ext cx="5975350" cy="260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B8715B-0552-4D25-AB21-E51E81763627}" type="datetime'''''''''''2''''''''0''''2''''''''''''''''''''''''''''0'">
              <a:rPr lang="nn-NO" altLang="en-US" sz="1400" b="1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Rektangel 110"/>
          <p:cNvSpPr/>
          <p:nvPr>
            <p:custDataLst>
              <p:tags r:id="rId10"/>
            </p:custDataLst>
          </p:nvPr>
        </p:nvSpPr>
        <p:spPr bwMode="auto">
          <a:xfrm>
            <a:off x="7877175" y="1143000"/>
            <a:ext cx="3797300" cy="260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23DD7C-A765-4E07-A49B-FBD4909E73EA}" type="datetime'''''''''''''''''''''''''''20''''''21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ktangel 35"/>
          <p:cNvSpPr/>
          <p:nvPr>
            <p:custDataLst>
              <p:tags r:id="rId11"/>
            </p:custDataLst>
          </p:nvPr>
        </p:nvSpPr>
        <p:spPr bwMode="auto">
          <a:xfrm>
            <a:off x="1901825" y="1403350"/>
            <a:ext cx="8382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A83A0B-43B7-4ADE-B4B9-A62C3AE05110}" type="datetime'''''''''''j''u''''''''''''n'''''''''''''''''''''''''''''">
              <a:rPr lang="nn-NO" altLang="en-US" sz="1400" b="1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ktangel 36"/>
          <p:cNvSpPr/>
          <p:nvPr>
            <p:custDataLst>
              <p:tags r:id="rId12"/>
            </p:custDataLst>
          </p:nvPr>
        </p:nvSpPr>
        <p:spPr bwMode="auto">
          <a:xfrm>
            <a:off x="2740024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405AB7-4727-4C37-B9CE-6F9143EAC779}" type="datetime'''''''''j''''''''''''''''u''''''''''''''''''''''''''''''''''l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ul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ktangel 37"/>
          <p:cNvSpPr/>
          <p:nvPr>
            <p:custDataLst>
              <p:tags r:id="rId13"/>
            </p:custDataLst>
          </p:nvPr>
        </p:nvSpPr>
        <p:spPr bwMode="auto">
          <a:xfrm>
            <a:off x="3605212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F04790-0EAF-452C-93EC-4AA66976003F}" type="datetime'a''''u''''''''''''''''''''''''g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ug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ktangel 67"/>
          <p:cNvSpPr/>
          <p:nvPr>
            <p:custDataLst>
              <p:tags r:id="rId14"/>
            </p:custDataLst>
          </p:nvPr>
        </p:nvSpPr>
        <p:spPr bwMode="auto">
          <a:xfrm>
            <a:off x="4470400" y="1403350"/>
            <a:ext cx="8382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8CF92EE-1299-411D-B451-2AFC92DF0C92}" type="datetime'''''''''se''''p''''''''''''''''''''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ep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9" name="Rektangel 78"/>
          <p:cNvSpPr/>
          <p:nvPr>
            <p:custDataLst>
              <p:tags r:id="rId15"/>
            </p:custDataLst>
          </p:nvPr>
        </p:nvSpPr>
        <p:spPr bwMode="auto">
          <a:xfrm>
            <a:off x="5308599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DC1160-BAE2-4DCE-94CD-9D3D7153A249}" type="datetime'''''o''''''''''''''''''''''''''''k''''''t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kt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0" name="Rektangel 79"/>
          <p:cNvSpPr/>
          <p:nvPr>
            <p:custDataLst>
              <p:tags r:id="rId16"/>
            </p:custDataLst>
          </p:nvPr>
        </p:nvSpPr>
        <p:spPr bwMode="auto">
          <a:xfrm>
            <a:off x="6173787" y="1403350"/>
            <a:ext cx="8382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B614CA-4C2C-4FD0-9CB2-3EAF27AF1C09}" type="datetime'''''''''''''''''''''''''''''n''o''v''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ov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ktangel 94"/>
          <p:cNvSpPr/>
          <p:nvPr>
            <p:custDataLst>
              <p:tags r:id="rId17"/>
            </p:custDataLst>
          </p:nvPr>
        </p:nvSpPr>
        <p:spPr bwMode="auto">
          <a:xfrm>
            <a:off x="7011987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DB721A-2934-4939-85EA-727BD24BCD43}" type="datetime'''''''''''''''d''e''''''''''''''''''s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es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9" name="Rektangel 108"/>
          <p:cNvSpPr/>
          <p:nvPr>
            <p:custDataLst>
              <p:tags r:id="rId18"/>
            </p:custDataLst>
          </p:nvPr>
        </p:nvSpPr>
        <p:spPr bwMode="auto">
          <a:xfrm>
            <a:off x="7877174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FC1B94-1297-41E2-98B2-470DE5561032}" type="datetime'''''''''''''j''''''''''''''''''a''''n''''''''''''''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jan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4" name="Rektangel 123"/>
          <p:cNvSpPr/>
          <p:nvPr>
            <p:custDataLst>
              <p:tags r:id="rId19"/>
            </p:custDataLst>
          </p:nvPr>
        </p:nvSpPr>
        <p:spPr bwMode="auto">
          <a:xfrm>
            <a:off x="8742362" y="1403350"/>
            <a:ext cx="7826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A359E0-7ECB-4003-9A21-C7AA1ADA5314}" type="datetime'''''''''''f''''''''''''''''''''''''''e''''''''''''b''''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eb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5" name="Rektangel 124"/>
          <p:cNvSpPr/>
          <p:nvPr>
            <p:custDataLst>
              <p:tags r:id="rId20"/>
            </p:custDataLst>
          </p:nvPr>
        </p:nvSpPr>
        <p:spPr bwMode="auto">
          <a:xfrm>
            <a:off x="9524999" y="1403350"/>
            <a:ext cx="8651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282BAA-F7F7-4CC9-98DF-5FEC94D36DF7}" type="datetime'''''''''''m''''''''''''''''''a''''''''''''''''''''''''''''r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36" name="Rektangel 135"/>
          <p:cNvSpPr/>
          <p:nvPr>
            <p:custDataLst>
              <p:tags r:id="rId21"/>
            </p:custDataLst>
          </p:nvPr>
        </p:nvSpPr>
        <p:spPr bwMode="auto">
          <a:xfrm>
            <a:off x="10390188" y="1403350"/>
            <a:ext cx="8382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647FEA-A254-47EE-A10E-592883E99737}" type="datetime'''''''''''''''''''''''''''''''''''''''''ap''''''''''''r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47" name="Rektangel 146"/>
          <p:cNvSpPr/>
          <p:nvPr>
            <p:custDataLst>
              <p:tags r:id="rId22"/>
            </p:custDataLst>
          </p:nvPr>
        </p:nvSpPr>
        <p:spPr bwMode="auto">
          <a:xfrm>
            <a:off x="11228387" y="1403350"/>
            <a:ext cx="446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23813" rIns="0" bIns="2381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E3F4C2-2395-43D1-9246-9B97A50CE640}" type="datetime'''''''''''''''''''''''m''''a''''''''''''''''''''i'''''''''''''">
              <a:rPr lang="nn-NO" altLang="en-US" sz="14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i</a:t>
            </a:fld>
            <a:endParaRPr lang="nn-NO" sz="1400" b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82" name="Rett linje 81"/>
          <p:cNvCxnSpPr/>
          <p:nvPr>
            <p:custDataLst>
              <p:tags r:id="rId23"/>
            </p:custDataLst>
          </p:nvPr>
        </p:nvCxnSpPr>
        <p:spPr bwMode="auto">
          <a:xfrm>
            <a:off x="6173788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Rett linje 68"/>
          <p:cNvCxnSpPr/>
          <p:nvPr>
            <p:custDataLst>
              <p:tags r:id="rId24"/>
            </p:custDataLst>
          </p:nvPr>
        </p:nvCxnSpPr>
        <p:spPr bwMode="auto">
          <a:xfrm>
            <a:off x="4470400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Rett linje 46"/>
          <p:cNvCxnSpPr/>
          <p:nvPr>
            <p:custDataLst>
              <p:tags r:id="rId25"/>
            </p:custDataLst>
          </p:nvPr>
        </p:nvCxnSpPr>
        <p:spPr bwMode="auto">
          <a:xfrm>
            <a:off x="3605213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Rett linje 45"/>
          <p:cNvCxnSpPr/>
          <p:nvPr>
            <p:custDataLst>
              <p:tags r:id="rId26"/>
            </p:custDataLst>
          </p:nvPr>
        </p:nvCxnSpPr>
        <p:spPr bwMode="auto">
          <a:xfrm>
            <a:off x="2740025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Rett linje 95"/>
          <p:cNvCxnSpPr/>
          <p:nvPr>
            <p:custDataLst>
              <p:tags r:id="rId27"/>
            </p:custDataLst>
          </p:nvPr>
        </p:nvCxnSpPr>
        <p:spPr bwMode="auto">
          <a:xfrm>
            <a:off x="7011988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Rett linje 136"/>
          <p:cNvCxnSpPr/>
          <p:nvPr>
            <p:custDataLst>
              <p:tags r:id="rId28"/>
            </p:custDataLst>
          </p:nvPr>
        </p:nvCxnSpPr>
        <p:spPr bwMode="auto">
          <a:xfrm>
            <a:off x="10390188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Rett linje 60"/>
          <p:cNvCxnSpPr/>
          <p:nvPr>
            <p:custDataLst>
              <p:tags r:id="rId29"/>
            </p:custDataLst>
          </p:nvPr>
        </p:nvCxnSpPr>
        <p:spPr bwMode="auto">
          <a:xfrm>
            <a:off x="11674475" y="1663700"/>
            <a:ext cx="0" cy="44640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Rett linje 111"/>
          <p:cNvCxnSpPr/>
          <p:nvPr>
            <p:custDataLst>
              <p:tags r:id="rId30"/>
            </p:custDataLst>
          </p:nvPr>
        </p:nvCxnSpPr>
        <p:spPr bwMode="auto">
          <a:xfrm>
            <a:off x="7877175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Rett linje 125"/>
          <p:cNvCxnSpPr/>
          <p:nvPr>
            <p:custDataLst>
              <p:tags r:id="rId31"/>
            </p:custDataLst>
          </p:nvPr>
        </p:nvCxnSpPr>
        <p:spPr bwMode="auto">
          <a:xfrm>
            <a:off x="8742363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Rett linje 126"/>
          <p:cNvCxnSpPr/>
          <p:nvPr>
            <p:custDataLst>
              <p:tags r:id="rId32"/>
            </p:custDataLst>
          </p:nvPr>
        </p:nvCxnSpPr>
        <p:spPr bwMode="auto">
          <a:xfrm>
            <a:off x="9525000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Rett linje 147"/>
          <p:cNvCxnSpPr/>
          <p:nvPr>
            <p:custDataLst>
              <p:tags r:id="rId33"/>
            </p:custDataLst>
          </p:nvPr>
        </p:nvCxnSpPr>
        <p:spPr bwMode="auto">
          <a:xfrm>
            <a:off x="11228388" y="1663700"/>
            <a:ext cx="0" cy="44640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Rett linje 59"/>
          <p:cNvCxnSpPr/>
          <p:nvPr>
            <p:custDataLst>
              <p:tags r:id="rId34"/>
            </p:custDataLst>
          </p:nvPr>
        </p:nvCxnSpPr>
        <p:spPr bwMode="auto">
          <a:xfrm>
            <a:off x="1901825" y="1663700"/>
            <a:ext cx="0" cy="44640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Rett linje 61"/>
          <p:cNvCxnSpPr/>
          <p:nvPr>
            <p:custDataLst>
              <p:tags r:id="rId35"/>
            </p:custDataLst>
          </p:nvPr>
        </p:nvCxnSpPr>
        <p:spPr bwMode="auto">
          <a:xfrm>
            <a:off x="287338" y="1663700"/>
            <a:ext cx="0" cy="44640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Rett linje 44"/>
          <p:cNvCxnSpPr/>
          <p:nvPr>
            <p:custDataLst>
              <p:tags r:id="rId36"/>
            </p:custDataLst>
          </p:nvPr>
        </p:nvCxnSpPr>
        <p:spPr bwMode="auto">
          <a:xfrm>
            <a:off x="287338" y="4778375"/>
            <a:ext cx="113871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Rett linje 43"/>
          <p:cNvCxnSpPr/>
          <p:nvPr>
            <p:custDataLst>
              <p:tags r:id="rId37"/>
            </p:custDataLst>
          </p:nvPr>
        </p:nvCxnSpPr>
        <p:spPr bwMode="auto">
          <a:xfrm>
            <a:off x="287338" y="3013075"/>
            <a:ext cx="113871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/>
          <p:cNvCxnSpPr/>
          <p:nvPr>
            <p:custDataLst>
              <p:tags r:id="rId38"/>
            </p:custDataLst>
          </p:nvPr>
        </p:nvCxnSpPr>
        <p:spPr bwMode="gray">
          <a:xfrm>
            <a:off x="5308600" y="1663700"/>
            <a:ext cx="0" cy="446405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Rett linje 63"/>
          <p:cNvCxnSpPr/>
          <p:nvPr>
            <p:custDataLst>
              <p:tags r:id="rId39"/>
            </p:custDataLst>
          </p:nvPr>
        </p:nvCxnSpPr>
        <p:spPr bwMode="auto">
          <a:xfrm>
            <a:off x="287338" y="6127750"/>
            <a:ext cx="11387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Rett linje 62"/>
          <p:cNvCxnSpPr/>
          <p:nvPr>
            <p:custDataLst>
              <p:tags r:id="rId40"/>
            </p:custDataLst>
          </p:nvPr>
        </p:nvCxnSpPr>
        <p:spPr bwMode="auto">
          <a:xfrm>
            <a:off x="287338" y="1663700"/>
            <a:ext cx="11387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1" name="Pil høyre 190"/>
          <p:cNvSpPr/>
          <p:nvPr>
            <p:custDataLst>
              <p:tags r:id="rId41"/>
            </p:custDataLst>
          </p:nvPr>
        </p:nvSpPr>
        <p:spPr bwMode="gray">
          <a:xfrm>
            <a:off x="1906588" y="5365750"/>
            <a:ext cx="9869488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20" name="Høyre hakeparentes 19"/>
          <p:cNvSpPr/>
          <p:nvPr>
            <p:custDataLst>
              <p:tags r:id="rId42"/>
            </p:custDataLst>
          </p:nvPr>
        </p:nvSpPr>
        <p:spPr bwMode="auto">
          <a:xfrm rot="5400000">
            <a:off x="3024188" y="5049838"/>
            <a:ext cx="107950" cy="233521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21" name="Likebent trekant 20"/>
          <p:cNvSpPr/>
          <p:nvPr>
            <p:custDataLst>
              <p:tags r:id="rId43"/>
            </p:custDataLst>
          </p:nvPr>
        </p:nvSpPr>
        <p:spPr bwMode="auto">
          <a:xfrm rot="10800000">
            <a:off x="2971800" y="6272213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90" name="Likebent trekant 189"/>
          <p:cNvSpPr/>
          <p:nvPr>
            <p:custDataLst>
              <p:tags r:id="rId44"/>
            </p:custDataLst>
          </p:nvPr>
        </p:nvSpPr>
        <p:spPr bwMode="gray">
          <a:xfrm>
            <a:off x="9272588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9" name="Likebent trekant 188"/>
          <p:cNvSpPr/>
          <p:nvPr>
            <p:custDataLst>
              <p:tags r:id="rId45"/>
            </p:custDataLst>
          </p:nvPr>
        </p:nvSpPr>
        <p:spPr bwMode="gray">
          <a:xfrm>
            <a:off x="8489950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8" name="Likebent trekant 187"/>
          <p:cNvSpPr/>
          <p:nvPr>
            <p:custDataLst>
              <p:tags r:id="rId46"/>
            </p:custDataLst>
          </p:nvPr>
        </p:nvSpPr>
        <p:spPr bwMode="gray">
          <a:xfrm>
            <a:off x="7708900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8" name="Likebent trekant 167"/>
          <p:cNvSpPr/>
          <p:nvPr>
            <p:custDataLst>
              <p:tags r:id="rId47"/>
            </p:custDataLst>
          </p:nvPr>
        </p:nvSpPr>
        <p:spPr bwMode="gray">
          <a:xfrm>
            <a:off x="10248900" y="26892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0" name="Likebent trekant 159"/>
          <p:cNvSpPr/>
          <p:nvPr>
            <p:custDataLst>
              <p:tags r:id="rId48"/>
            </p:custDataLst>
          </p:nvPr>
        </p:nvSpPr>
        <p:spPr bwMode="gray">
          <a:xfrm>
            <a:off x="7429500" y="185737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7" name="Likebent trekant 186"/>
          <p:cNvSpPr/>
          <p:nvPr>
            <p:custDataLst>
              <p:tags r:id="rId49"/>
            </p:custDataLst>
          </p:nvPr>
        </p:nvSpPr>
        <p:spPr bwMode="gray">
          <a:xfrm>
            <a:off x="6340475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7" name="Likebent trekant 166"/>
          <p:cNvSpPr/>
          <p:nvPr>
            <p:custDataLst>
              <p:tags r:id="rId50"/>
            </p:custDataLst>
          </p:nvPr>
        </p:nvSpPr>
        <p:spPr bwMode="gray">
          <a:xfrm>
            <a:off x="8880475" y="26892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3" name="Likebent trekant 182"/>
          <p:cNvSpPr/>
          <p:nvPr>
            <p:custDataLst>
              <p:tags r:id="rId51"/>
            </p:custDataLst>
          </p:nvPr>
        </p:nvSpPr>
        <p:spPr bwMode="gray">
          <a:xfrm>
            <a:off x="8294688" y="44545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7" name="Likebent trekant 176"/>
          <p:cNvSpPr/>
          <p:nvPr>
            <p:custDataLst>
              <p:tags r:id="rId52"/>
            </p:custDataLst>
          </p:nvPr>
        </p:nvSpPr>
        <p:spPr bwMode="gray">
          <a:xfrm>
            <a:off x="9272588" y="36226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3" name="Likebent trekant 172"/>
          <p:cNvSpPr/>
          <p:nvPr>
            <p:custDataLst>
              <p:tags r:id="rId53"/>
            </p:custDataLst>
          </p:nvPr>
        </p:nvSpPr>
        <p:spPr bwMode="gray">
          <a:xfrm>
            <a:off x="8489950" y="32067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9" name="Likebent trekant 168"/>
          <p:cNvSpPr/>
          <p:nvPr>
            <p:custDataLst>
              <p:tags r:id="rId54"/>
            </p:custDataLst>
          </p:nvPr>
        </p:nvSpPr>
        <p:spPr bwMode="gray">
          <a:xfrm>
            <a:off x="8489950" y="22733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6" name="Likebent trekant 165"/>
          <p:cNvSpPr/>
          <p:nvPr>
            <p:custDataLst>
              <p:tags r:id="rId55"/>
            </p:custDataLst>
          </p:nvPr>
        </p:nvSpPr>
        <p:spPr bwMode="gray">
          <a:xfrm>
            <a:off x="7400925" y="268922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24" name="Likebent trekant 23"/>
          <p:cNvSpPr/>
          <p:nvPr>
            <p:custDataLst>
              <p:tags r:id="rId56"/>
            </p:custDataLst>
          </p:nvPr>
        </p:nvSpPr>
        <p:spPr bwMode="gray">
          <a:xfrm>
            <a:off x="6926263" y="40386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2" name="Likebent trekant 171"/>
          <p:cNvSpPr/>
          <p:nvPr>
            <p:custDataLst>
              <p:tags r:id="rId57"/>
            </p:custDataLst>
          </p:nvPr>
        </p:nvSpPr>
        <p:spPr bwMode="gray">
          <a:xfrm>
            <a:off x="7512050" y="32067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6" name="Likebent trekant 175"/>
          <p:cNvSpPr/>
          <p:nvPr>
            <p:custDataLst>
              <p:tags r:id="rId58"/>
            </p:custDataLst>
          </p:nvPr>
        </p:nvSpPr>
        <p:spPr bwMode="gray">
          <a:xfrm>
            <a:off x="8099425" y="36226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6" name="Likebent trekant 185"/>
          <p:cNvSpPr/>
          <p:nvPr>
            <p:custDataLst>
              <p:tags r:id="rId59"/>
            </p:custDataLst>
          </p:nvPr>
        </p:nvSpPr>
        <p:spPr bwMode="gray">
          <a:xfrm>
            <a:off x="5362575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1" name="Likebent trekant 160"/>
          <p:cNvSpPr/>
          <p:nvPr>
            <p:custDataLst>
              <p:tags r:id="rId60"/>
            </p:custDataLst>
          </p:nvPr>
        </p:nvSpPr>
        <p:spPr bwMode="gray">
          <a:xfrm>
            <a:off x="6842125" y="185737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2" name="Likebent trekant 181"/>
          <p:cNvSpPr/>
          <p:nvPr>
            <p:custDataLst>
              <p:tags r:id="rId61"/>
            </p:custDataLst>
          </p:nvPr>
        </p:nvSpPr>
        <p:spPr bwMode="gray">
          <a:xfrm>
            <a:off x="7512050" y="44545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59" name="Likebent trekant 158"/>
          <p:cNvSpPr/>
          <p:nvPr>
            <p:custDataLst>
              <p:tags r:id="rId62"/>
            </p:custDataLst>
          </p:nvPr>
        </p:nvSpPr>
        <p:spPr bwMode="gray">
          <a:xfrm>
            <a:off x="5949950" y="185737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5" name="Likebent trekant 164"/>
          <p:cNvSpPr/>
          <p:nvPr>
            <p:custDataLst>
              <p:tags r:id="rId63"/>
            </p:custDataLst>
          </p:nvPr>
        </p:nvSpPr>
        <p:spPr bwMode="gray">
          <a:xfrm>
            <a:off x="6032500" y="268922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1" name="Likebent trekant 180"/>
          <p:cNvSpPr/>
          <p:nvPr>
            <p:custDataLst>
              <p:tags r:id="rId64"/>
            </p:custDataLst>
          </p:nvPr>
        </p:nvSpPr>
        <p:spPr bwMode="gray">
          <a:xfrm>
            <a:off x="6731000" y="44545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" name="Likebent trekant 17"/>
          <p:cNvSpPr/>
          <p:nvPr>
            <p:custDataLst>
              <p:tags r:id="rId65"/>
            </p:custDataLst>
          </p:nvPr>
        </p:nvSpPr>
        <p:spPr bwMode="gray">
          <a:xfrm>
            <a:off x="4776788" y="58039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9" name="Likebent trekant 178"/>
          <p:cNvSpPr/>
          <p:nvPr>
            <p:custDataLst>
              <p:tags r:id="rId66"/>
            </p:custDataLst>
          </p:nvPr>
        </p:nvSpPr>
        <p:spPr bwMode="gray">
          <a:xfrm>
            <a:off x="6032500" y="40386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5" name="Likebent trekant 184"/>
          <p:cNvSpPr/>
          <p:nvPr>
            <p:custDataLst>
              <p:tags r:id="rId67"/>
            </p:custDataLst>
          </p:nvPr>
        </p:nvSpPr>
        <p:spPr bwMode="gray">
          <a:xfrm>
            <a:off x="4581525" y="49720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3" name="Likebent trekant 162"/>
          <p:cNvSpPr/>
          <p:nvPr>
            <p:custDataLst>
              <p:tags r:id="rId68"/>
            </p:custDataLst>
          </p:nvPr>
        </p:nvSpPr>
        <p:spPr bwMode="gray">
          <a:xfrm>
            <a:off x="6731000" y="22733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5" name="Likebent trekant 174"/>
          <p:cNvSpPr/>
          <p:nvPr>
            <p:custDataLst>
              <p:tags r:id="rId69"/>
            </p:custDataLst>
          </p:nvPr>
        </p:nvSpPr>
        <p:spPr bwMode="gray">
          <a:xfrm>
            <a:off x="6954838" y="362267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1" name="Likebent trekant 170"/>
          <p:cNvSpPr/>
          <p:nvPr>
            <p:custDataLst>
              <p:tags r:id="rId70"/>
            </p:custDataLst>
          </p:nvPr>
        </p:nvSpPr>
        <p:spPr bwMode="gray">
          <a:xfrm>
            <a:off x="6731000" y="32067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58" name="Likebent trekant 157"/>
          <p:cNvSpPr/>
          <p:nvPr>
            <p:custDataLst>
              <p:tags r:id="rId71"/>
            </p:custDataLst>
          </p:nvPr>
        </p:nvSpPr>
        <p:spPr bwMode="gray">
          <a:xfrm>
            <a:off x="4468813" y="185737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0" name="Likebent trekant 179"/>
          <p:cNvSpPr/>
          <p:nvPr>
            <p:custDataLst>
              <p:tags r:id="rId72"/>
            </p:custDataLst>
          </p:nvPr>
        </p:nvSpPr>
        <p:spPr bwMode="gray">
          <a:xfrm>
            <a:off x="5810250" y="445452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" name="Likebent trekant 16"/>
          <p:cNvSpPr/>
          <p:nvPr>
            <p:custDataLst>
              <p:tags r:id="rId73"/>
            </p:custDataLst>
          </p:nvPr>
        </p:nvSpPr>
        <p:spPr bwMode="gray">
          <a:xfrm>
            <a:off x="2822575" y="58039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8" name="Likebent trekant 177"/>
          <p:cNvSpPr/>
          <p:nvPr>
            <p:custDataLst>
              <p:tags r:id="rId74"/>
            </p:custDataLst>
          </p:nvPr>
        </p:nvSpPr>
        <p:spPr bwMode="gray">
          <a:xfrm>
            <a:off x="5251450" y="4038600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4" name="Likebent trekant 163"/>
          <p:cNvSpPr/>
          <p:nvPr>
            <p:custDataLst>
              <p:tags r:id="rId75"/>
            </p:custDataLst>
          </p:nvPr>
        </p:nvSpPr>
        <p:spPr bwMode="gray">
          <a:xfrm>
            <a:off x="4106863" y="268922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0" name="Likebent trekant 169"/>
          <p:cNvSpPr/>
          <p:nvPr>
            <p:custDataLst>
              <p:tags r:id="rId76"/>
            </p:custDataLst>
          </p:nvPr>
        </p:nvSpPr>
        <p:spPr bwMode="gray">
          <a:xfrm>
            <a:off x="5670550" y="3206750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74" name="Likebent trekant 173"/>
          <p:cNvSpPr/>
          <p:nvPr>
            <p:custDataLst>
              <p:tags r:id="rId77"/>
            </p:custDataLst>
          </p:nvPr>
        </p:nvSpPr>
        <p:spPr bwMode="gray">
          <a:xfrm>
            <a:off x="5586413" y="3622675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62" name="Likebent trekant 161"/>
          <p:cNvSpPr/>
          <p:nvPr>
            <p:custDataLst>
              <p:tags r:id="rId78"/>
            </p:custDataLst>
          </p:nvPr>
        </p:nvSpPr>
        <p:spPr bwMode="gray">
          <a:xfrm>
            <a:off x="4776788" y="22733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>
        <p:nvSpPr>
          <p:cNvPr id="184" name="Likebent trekant 183"/>
          <p:cNvSpPr/>
          <p:nvPr>
            <p:custDataLst>
              <p:tags r:id="rId79"/>
            </p:custDataLst>
          </p:nvPr>
        </p:nvSpPr>
        <p:spPr bwMode="gray">
          <a:xfrm>
            <a:off x="3798888" y="4972050"/>
            <a:ext cx="114300" cy="114300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n-NO"/>
          </a:p>
        </p:txBody>
      </p:sp>
      <p:sp useBgFill="1">
        <p:nvSpPr>
          <p:cNvPr id="19" name="Rektangel 18"/>
          <p:cNvSpPr/>
          <p:nvPr>
            <p:custDataLst>
              <p:tags r:id="rId80"/>
            </p:custDataLst>
          </p:nvPr>
        </p:nvSpPr>
        <p:spPr bwMode="auto">
          <a:xfrm>
            <a:off x="2198688" y="6397625"/>
            <a:ext cx="1758950" cy="212725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B7C64F4-DF5B-4B0E-B1F8-C09EB1BA1450}" type="datetime'''''28''''''.''''''''''''''''0''''''''''''''5.20''20'">
              <a:rPr lang="nn-NO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8.05.2020</a:t>
            </a:fld>
            <a:r>
              <a:rPr lang="nn-NO" altLang="en-US" sz="1400" smtClean="0">
                <a:solidFill>
                  <a:schemeClr val="tx1"/>
                </a:solidFill>
                <a:sym typeface="+mn-lt"/>
              </a:rPr>
              <a:t> - </a:t>
            </a:r>
            <a:fld id="{CA8D64A2-9D9B-462E-96F5-F88126E05BC2}" type="datetime'''''''2''''''''3''''''''.0''''8''.202''''''''''''0'''">
              <a:rPr lang="nn-NO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3.08.2020</a:t>
            </a:fld>
            <a:endParaRPr lang="nn-NO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" name="Rektangel 3"/>
          <p:cNvSpPr/>
          <p:nvPr>
            <p:custDataLst>
              <p:tags r:id="rId81"/>
            </p:custDataLst>
          </p:nvPr>
        </p:nvSpPr>
        <p:spPr bwMode="auto">
          <a:xfrm>
            <a:off x="358775" y="2232025"/>
            <a:ext cx="14716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Styringsgruppemøte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6" name="Rektangel 155"/>
          <p:cNvSpPr/>
          <p:nvPr>
            <p:custDataLst>
              <p:tags r:id="rId82"/>
            </p:custDataLst>
          </p:nvPr>
        </p:nvSpPr>
        <p:spPr bwMode="auto">
          <a:xfrm>
            <a:off x="358775" y="3997325"/>
            <a:ext cx="12573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</a:rPr>
              <a:t>Hornindal - Volda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Rektangel 9"/>
          <p:cNvSpPr/>
          <p:nvPr>
            <p:custDataLst>
              <p:tags r:id="rId83"/>
            </p:custDataLst>
          </p:nvPr>
        </p:nvSpPr>
        <p:spPr bwMode="auto">
          <a:xfrm>
            <a:off x="358775" y="5346700"/>
            <a:ext cx="10826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Linjeaktivitetar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" name="Rektangel 10"/>
          <p:cNvSpPr/>
          <p:nvPr>
            <p:custDataLst>
              <p:tags r:id="rId84"/>
            </p:custDataLst>
          </p:nvPr>
        </p:nvSpPr>
        <p:spPr bwMode="auto">
          <a:xfrm>
            <a:off x="358775" y="1427163"/>
            <a:ext cx="6365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b="1" dirty="0" smtClean="0">
                <a:solidFill>
                  <a:srgbClr val="000000"/>
                </a:solidFill>
                <a:sym typeface="+mn-lt"/>
              </a:rPr>
              <a:t>Aktivitet</a:t>
            </a:r>
            <a:endParaRPr lang="nn-NO" sz="14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" name="Rektangel 5"/>
          <p:cNvSpPr/>
          <p:nvPr>
            <p:custDataLst>
              <p:tags r:id="rId85"/>
            </p:custDataLst>
          </p:nvPr>
        </p:nvSpPr>
        <p:spPr bwMode="auto">
          <a:xfrm>
            <a:off x="358775" y="2647950"/>
            <a:ext cx="9683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Prosjektmøte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6" name="Rektangel 85"/>
          <p:cNvSpPr/>
          <p:nvPr>
            <p:custDataLst>
              <p:tags r:id="rId86"/>
            </p:custDataLst>
          </p:nvPr>
        </p:nvSpPr>
        <p:spPr bwMode="auto">
          <a:xfrm>
            <a:off x="358775" y="5762625"/>
            <a:ext cx="10334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err="1" smtClean="0">
                <a:solidFill>
                  <a:srgbClr val="000000"/>
                </a:solidFill>
              </a:rPr>
              <a:t>Båtambulanse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5" name="Rektangel 154"/>
          <p:cNvSpPr/>
          <p:nvPr>
            <p:custDataLst>
              <p:tags r:id="rId87"/>
            </p:custDataLst>
          </p:nvPr>
        </p:nvSpPr>
        <p:spPr bwMode="auto">
          <a:xfrm>
            <a:off x="358775" y="3581400"/>
            <a:ext cx="11318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</a:rPr>
              <a:t>Ytre Bremanger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" name="Rektangel 7"/>
          <p:cNvSpPr/>
          <p:nvPr>
            <p:custDataLst>
              <p:tags r:id="rId88"/>
            </p:custDataLst>
          </p:nvPr>
        </p:nvSpPr>
        <p:spPr bwMode="auto">
          <a:xfrm>
            <a:off x="358775" y="4413250"/>
            <a:ext cx="9350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Samhandling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7" name="Rektangel 156"/>
          <p:cNvSpPr/>
          <p:nvPr>
            <p:custDataLst>
              <p:tags r:id="rId89"/>
            </p:custDataLst>
          </p:nvPr>
        </p:nvSpPr>
        <p:spPr bwMode="auto">
          <a:xfrm>
            <a:off x="358775" y="1816100"/>
            <a:ext cx="7524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</a:rPr>
              <a:t>Styremøte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" name="Rektangel 6"/>
          <p:cNvSpPr/>
          <p:nvPr>
            <p:custDataLst>
              <p:tags r:id="rId90"/>
            </p:custDataLst>
          </p:nvPr>
        </p:nvSpPr>
        <p:spPr bwMode="auto">
          <a:xfrm>
            <a:off x="358775" y="3165475"/>
            <a:ext cx="3603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Lavik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" name="Rektangel 8"/>
          <p:cNvSpPr/>
          <p:nvPr>
            <p:custDataLst>
              <p:tags r:id="rId91"/>
            </p:custDataLst>
          </p:nvPr>
        </p:nvSpPr>
        <p:spPr bwMode="auto">
          <a:xfrm>
            <a:off x="358775" y="4930775"/>
            <a:ext cx="9112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n-NO" altLang="en-US" sz="1400" dirty="0" smtClean="0">
                <a:solidFill>
                  <a:srgbClr val="000000"/>
                </a:solidFill>
                <a:sym typeface="+mn-lt"/>
              </a:rPr>
              <a:t>Arbeidsutval</a:t>
            </a:r>
            <a:endParaRPr lang="nn-NO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TekstSylinder 15"/>
          <p:cNvSpPr txBox="1"/>
          <p:nvPr/>
        </p:nvSpPr>
        <p:spPr>
          <a:xfrm>
            <a:off x="9882188" y="2090520"/>
            <a:ext cx="18936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n-NO" sz="1100" dirty="0" smtClean="0"/>
              <a:t>Grøn trekant = tidfesta</a:t>
            </a:r>
          </a:p>
          <a:p>
            <a:r>
              <a:rPr lang="nn-NO" sz="1100" dirty="0" smtClean="0"/>
              <a:t>Blå trekant = illustrasjon</a:t>
            </a:r>
            <a:endParaRPr lang="nn-NO" sz="1100" dirty="0"/>
          </a:p>
        </p:txBody>
      </p:sp>
    </p:spTree>
    <p:extLst>
      <p:ext uri="{BB962C8B-B14F-4D97-AF65-F5344CB8AC3E}">
        <p14:creationId xmlns:p14="http://schemas.microsoft.com/office/powerpoint/2010/main" val="125284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69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609601" y="2066905"/>
            <a:ext cx="11249023" cy="1803296"/>
          </a:xfrm>
        </p:spPr>
        <p:txBody>
          <a:bodyPr/>
          <a:lstStyle/>
          <a:p>
            <a:r>
              <a:rPr lang="nn-NO" dirty="0" smtClean="0"/>
              <a:t>1. oktober – Hornindal/Volda – </a:t>
            </a:r>
            <a:r>
              <a:rPr lang="nn-NO" dirty="0"/>
              <a:t>Nordfjord </a:t>
            </a:r>
            <a:r>
              <a:rPr lang="nn-NO" dirty="0" smtClean="0"/>
              <a:t>sjukehus </a:t>
            </a:r>
            <a:endParaRPr lang="nn-NO" sz="1000" dirty="0"/>
          </a:p>
          <a:p>
            <a:r>
              <a:rPr lang="nn-NO" dirty="0" smtClean="0"/>
              <a:t>13. oktober – Ytre Bremanger – Knutholmen </a:t>
            </a:r>
            <a:endParaRPr lang="nn-NO" sz="1000" dirty="0" smtClean="0"/>
          </a:p>
          <a:p>
            <a:r>
              <a:rPr lang="nn-NO" dirty="0" smtClean="0"/>
              <a:t>16. oktober – Lavik – Lavik Fjordhotell </a:t>
            </a:r>
            <a:endParaRPr lang="nn-NO" sz="1000" dirty="0" smtClean="0"/>
          </a:p>
          <a:p>
            <a:r>
              <a:rPr lang="nn-NO" dirty="0" smtClean="0"/>
              <a:t>21. oktober – Samhandling -  Førde </a:t>
            </a:r>
            <a:r>
              <a:rPr lang="nn-NO" dirty="0" smtClean="0"/>
              <a:t>sentralsjukehus</a:t>
            </a:r>
            <a:endParaRPr lang="nn-NO" sz="1000" dirty="0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409979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5708" y="24412"/>
            <a:ext cx="6610028" cy="6826333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20597" y="136716"/>
            <a:ext cx="1873250" cy="39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48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/>
        </p:nvGrpSpPr>
        <p:grpSpPr>
          <a:xfrm>
            <a:off x="535578" y="1881051"/>
            <a:ext cx="3396342" cy="3043646"/>
            <a:chOff x="4274912" y="5043525"/>
            <a:chExt cx="862324" cy="678679"/>
          </a:xfrm>
          <a:solidFill>
            <a:schemeClr val="bg1">
              <a:lumMod val="75000"/>
            </a:schemeClr>
          </a:solidFill>
        </p:grpSpPr>
        <p:sp>
          <p:nvSpPr>
            <p:cNvPr id="5" name="Rektangel 4"/>
            <p:cNvSpPr/>
            <p:nvPr/>
          </p:nvSpPr>
          <p:spPr>
            <a:xfrm>
              <a:off x="4274913" y="5043525"/>
              <a:ext cx="862323" cy="678679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TekstSylinder 5"/>
            <p:cNvSpPr txBox="1"/>
            <p:nvPr/>
          </p:nvSpPr>
          <p:spPr>
            <a:xfrm>
              <a:off x="4274912" y="5043525"/>
              <a:ext cx="862323" cy="67867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algn="ctr" defTabSz="46670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nb-NO" sz="2800" dirty="0"/>
                <a:t>Arbeidsgrupper</a:t>
              </a:r>
            </a:p>
          </p:txBody>
        </p:sp>
      </p:grpSp>
      <p:grpSp>
        <p:nvGrpSpPr>
          <p:cNvPr id="7" name="Gruppe 6"/>
          <p:cNvGrpSpPr/>
          <p:nvPr/>
        </p:nvGrpSpPr>
        <p:grpSpPr>
          <a:xfrm>
            <a:off x="5193259" y="359832"/>
            <a:ext cx="4372772" cy="1399039"/>
            <a:chOff x="5268837" y="4016358"/>
            <a:chExt cx="1758159" cy="645638"/>
          </a:xfrm>
          <a:solidFill>
            <a:schemeClr val="bg1">
              <a:lumMod val="75000"/>
            </a:schemeClr>
          </a:solidFill>
        </p:grpSpPr>
        <p:sp>
          <p:nvSpPr>
            <p:cNvPr id="8" name="Rektangel 7"/>
            <p:cNvSpPr/>
            <p:nvPr/>
          </p:nvSpPr>
          <p:spPr>
            <a:xfrm>
              <a:off x="5268837" y="4016358"/>
              <a:ext cx="1758159" cy="645638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TekstSylinder 8"/>
            <p:cNvSpPr txBox="1"/>
            <p:nvPr/>
          </p:nvSpPr>
          <p:spPr>
            <a:xfrm>
              <a:off x="5268837" y="4016358"/>
              <a:ext cx="1758159" cy="64563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algn="ctr" defTabSz="46670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nb-NO" sz="1600" dirty="0" smtClean="0"/>
                <a:t>Arbeidsgruppe </a:t>
              </a:r>
              <a:r>
                <a:rPr lang="nb-NO" sz="1600" dirty="0"/>
                <a:t>1 Hornindal/Volda</a:t>
              </a:r>
            </a:p>
          </p:txBody>
        </p:sp>
      </p:grpSp>
      <p:grpSp>
        <p:nvGrpSpPr>
          <p:cNvPr id="10" name="Gruppe 9"/>
          <p:cNvGrpSpPr/>
          <p:nvPr/>
        </p:nvGrpSpPr>
        <p:grpSpPr>
          <a:xfrm>
            <a:off x="5216921" y="1948670"/>
            <a:ext cx="4349110" cy="1319349"/>
            <a:chOff x="5268837" y="4712149"/>
            <a:chExt cx="1781821" cy="645638"/>
          </a:xfrm>
          <a:solidFill>
            <a:schemeClr val="bg1">
              <a:lumMod val="75000"/>
            </a:schemeClr>
          </a:solidFill>
        </p:grpSpPr>
        <p:sp>
          <p:nvSpPr>
            <p:cNvPr id="11" name="Rektangel 10"/>
            <p:cNvSpPr/>
            <p:nvPr/>
          </p:nvSpPr>
          <p:spPr>
            <a:xfrm>
              <a:off x="5268837" y="4712149"/>
              <a:ext cx="1781821" cy="645638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TekstSylinder 11"/>
            <p:cNvSpPr txBox="1"/>
            <p:nvPr/>
          </p:nvSpPr>
          <p:spPr>
            <a:xfrm>
              <a:off x="5268837" y="4712149"/>
              <a:ext cx="1781821" cy="64563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algn="ctr" defTabSz="46670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nb-NO" sz="1600" dirty="0" smtClean="0"/>
                <a:t>Arbeidsgruppe </a:t>
              </a:r>
              <a:r>
                <a:rPr lang="nb-NO" sz="1600" dirty="0"/>
                <a:t>2 Lavik</a:t>
              </a:r>
            </a:p>
          </p:txBody>
        </p:sp>
      </p:grpSp>
      <p:grpSp>
        <p:nvGrpSpPr>
          <p:cNvPr id="13" name="Gruppe 12"/>
          <p:cNvGrpSpPr/>
          <p:nvPr/>
        </p:nvGrpSpPr>
        <p:grpSpPr>
          <a:xfrm>
            <a:off x="5188311" y="3559923"/>
            <a:ext cx="4377721" cy="1364775"/>
            <a:chOff x="5245175" y="5404528"/>
            <a:chExt cx="1805483" cy="649051"/>
          </a:xfrm>
          <a:solidFill>
            <a:schemeClr val="bg1">
              <a:lumMod val="75000"/>
            </a:schemeClr>
          </a:solidFill>
        </p:grpSpPr>
        <p:sp>
          <p:nvSpPr>
            <p:cNvPr id="14" name="Rektangel 13"/>
            <p:cNvSpPr/>
            <p:nvPr/>
          </p:nvSpPr>
          <p:spPr>
            <a:xfrm>
              <a:off x="5268837" y="5407941"/>
              <a:ext cx="1781821" cy="645638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TekstSylinder 14"/>
            <p:cNvSpPr txBox="1"/>
            <p:nvPr/>
          </p:nvSpPr>
          <p:spPr>
            <a:xfrm>
              <a:off x="5245175" y="5404528"/>
              <a:ext cx="1781821" cy="64563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algn="ctr" defTabSz="46670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nb-NO" sz="1600" dirty="0" smtClean="0"/>
                <a:t>Arbeidsgruppe </a:t>
              </a:r>
              <a:r>
                <a:rPr lang="nb-NO" sz="1600" dirty="0"/>
                <a:t>3 Ytre Bremanger</a:t>
              </a:r>
            </a:p>
          </p:txBody>
        </p:sp>
      </p:grpSp>
      <p:grpSp>
        <p:nvGrpSpPr>
          <p:cNvPr id="29" name="Gruppe 28"/>
          <p:cNvGrpSpPr/>
          <p:nvPr/>
        </p:nvGrpSpPr>
        <p:grpSpPr>
          <a:xfrm>
            <a:off x="5245683" y="5276231"/>
            <a:ext cx="4262975" cy="1319349"/>
            <a:chOff x="5268837" y="4712149"/>
            <a:chExt cx="1781821" cy="645638"/>
          </a:xfrm>
          <a:solidFill>
            <a:schemeClr val="bg1">
              <a:lumMod val="75000"/>
            </a:schemeClr>
          </a:solidFill>
        </p:grpSpPr>
        <p:sp>
          <p:nvSpPr>
            <p:cNvPr id="30" name="Rektangel 29"/>
            <p:cNvSpPr/>
            <p:nvPr/>
          </p:nvSpPr>
          <p:spPr>
            <a:xfrm>
              <a:off x="5268837" y="4712149"/>
              <a:ext cx="1781821" cy="645638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TekstSylinder 30"/>
            <p:cNvSpPr txBox="1"/>
            <p:nvPr/>
          </p:nvSpPr>
          <p:spPr>
            <a:xfrm>
              <a:off x="5268837" y="4712149"/>
              <a:ext cx="1781821" cy="64563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algn="ctr" defTabSz="46670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200" dirty="0"/>
            </a:p>
          </p:txBody>
        </p:sp>
      </p:grpSp>
      <p:sp>
        <p:nvSpPr>
          <p:cNvPr id="32" name="Rektangel 31"/>
          <p:cNvSpPr/>
          <p:nvPr/>
        </p:nvSpPr>
        <p:spPr>
          <a:xfrm>
            <a:off x="5865850" y="5397296"/>
            <a:ext cx="296526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nb-NO" sz="1600" dirty="0">
                <a:solidFill>
                  <a:schemeClr val="bg1"/>
                </a:solidFill>
              </a:rPr>
              <a:t>Arbeidsgruppe </a:t>
            </a:r>
            <a:r>
              <a:rPr lang="nb-NO" sz="1600" dirty="0" smtClean="0">
                <a:solidFill>
                  <a:schemeClr val="bg1"/>
                </a:solidFill>
              </a:rPr>
              <a:t> 4 Samhandling   </a:t>
            </a:r>
            <a:endParaRPr lang="nb-NO" sz="1600" dirty="0">
              <a:solidFill>
                <a:schemeClr val="bg1"/>
              </a:solidFill>
            </a:endParaRPr>
          </a:p>
          <a:p>
            <a:pPr lvl="0"/>
            <a:r>
              <a:rPr lang="nb-NO" sz="1600" dirty="0" err="1" smtClean="0">
                <a:solidFill>
                  <a:schemeClr val="bg1"/>
                </a:solidFill>
              </a:rPr>
              <a:t>Legevaktspilot</a:t>
            </a:r>
            <a:r>
              <a:rPr lang="nb-NO" sz="1600" dirty="0" smtClean="0">
                <a:solidFill>
                  <a:schemeClr val="bg1"/>
                </a:solidFill>
              </a:rPr>
              <a:t>       </a:t>
            </a:r>
            <a:endParaRPr lang="nb-NO" sz="1600" dirty="0">
              <a:solidFill>
                <a:schemeClr val="bg1"/>
              </a:solidFill>
            </a:endParaRPr>
          </a:p>
          <a:p>
            <a:pPr lvl="0"/>
            <a:r>
              <a:rPr lang="nb-NO" sz="1600" dirty="0" smtClean="0">
                <a:solidFill>
                  <a:schemeClr val="bg1"/>
                </a:solidFill>
              </a:rPr>
              <a:t>Samarbeid </a:t>
            </a:r>
            <a:r>
              <a:rPr lang="nb-NO" sz="1600" dirty="0">
                <a:solidFill>
                  <a:schemeClr val="bg1"/>
                </a:solidFill>
              </a:rPr>
              <a:t>med </a:t>
            </a:r>
            <a:r>
              <a:rPr lang="nb-NO" sz="1600" dirty="0" err="1">
                <a:solidFill>
                  <a:schemeClr val="bg1"/>
                </a:solidFill>
              </a:rPr>
              <a:t>kommunar</a:t>
            </a:r>
            <a:r>
              <a:rPr lang="nb-NO" sz="1600" dirty="0">
                <a:solidFill>
                  <a:schemeClr val="bg1"/>
                </a:solidFill>
              </a:rPr>
              <a:t>              </a:t>
            </a:r>
            <a:r>
              <a:rPr lang="nb-NO" sz="1600" dirty="0" smtClean="0">
                <a:solidFill>
                  <a:schemeClr val="bg1"/>
                </a:solidFill>
              </a:rPr>
              <a:t>    </a:t>
            </a:r>
            <a:r>
              <a:rPr lang="nb-NO" sz="1600" dirty="0" err="1" smtClean="0">
                <a:solidFill>
                  <a:schemeClr val="bg1"/>
                </a:solidFill>
              </a:rPr>
              <a:t>Akutthjelpar</a:t>
            </a:r>
            <a:endParaRPr lang="nb-NO" sz="1600" dirty="0">
              <a:solidFill>
                <a:schemeClr val="bg1"/>
              </a:solidFill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10202091" y="874685"/>
            <a:ext cx="14705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 smtClean="0"/>
              <a:t>1. oktober</a:t>
            </a:r>
            <a:endParaRPr lang="nb-NO" sz="2400" dirty="0"/>
          </a:p>
        </p:txBody>
      </p:sp>
      <p:sp>
        <p:nvSpPr>
          <p:cNvPr id="3" name="TekstSylinder 2"/>
          <p:cNvSpPr txBox="1"/>
          <p:nvPr/>
        </p:nvSpPr>
        <p:spPr>
          <a:xfrm>
            <a:off x="10202091" y="2423678"/>
            <a:ext cx="1867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smtClean="0"/>
              <a:t>16.oktober</a:t>
            </a:r>
            <a:endParaRPr lang="nb-NO" sz="2400" dirty="0"/>
          </a:p>
        </p:txBody>
      </p:sp>
      <p:sp>
        <p:nvSpPr>
          <p:cNvPr id="16" name="TekstSylinder 15"/>
          <p:cNvSpPr txBox="1"/>
          <p:nvPr/>
        </p:nvSpPr>
        <p:spPr>
          <a:xfrm>
            <a:off x="10272194" y="4061233"/>
            <a:ext cx="1557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 smtClean="0"/>
              <a:t>13.oktober</a:t>
            </a:r>
            <a:endParaRPr lang="nb-NO" sz="2400" dirty="0"/>
          </a:p>
        </p:txBody>
      </p:sp>
      <p:sp>
        <p:nvSpPr>
          <p:cNvPr id="17" name="TekstSylinder 16"/>
          <p:cNvSpPr txBox="1"/>
          <p:nvPr/>
        </p:nvSpPr>
        <p:spPr>
          <a:xfrm>
            <a:off x="10272194" y="5751239"/>
            <a:ext cx="1557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 smtClean="0"/>
              <a:t>21.oktober</a:t>
            </a:r>
            <a:endParaRPr lang="nb-NO" sz="2400" dirty="0"/>
          </a:p>
        </p:txBody>
      </p:sp>
      <p:pic>
        <p:nvPicPr>
          <p:cNvPr id="22" name="Bild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2091" y="88967"/>
            <a:ext cx="1873250" cy="39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05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6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nb-NO" sz="3333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calaSans-Bold"/>
              <a:ea typeface="+mj-ea"/>
              <a:cs typeface="Arial" panose="020B0604020202020204" pitchFamily="34" charset="0"/>
              <a:sym typeface="ScalaSans-Bold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6889" y="812526"/>
            <a:ext cx="8701088" cy="720090"/>
          </a:xfrm>
        </p:spPr>
        <p:txBody>
          <a:bodyPr>
            <a:normAutofit/>
          </a:bodyPr>
          <a:lstStyle/>
          <a:p>
            <a:r>
              <a:rPr lang="nb-NO" sz="3333" dirty="0" smtClean="0">
                <a:solidFill>
                  <a:schemeClr val="tx1"/>
                </a:solidFill>
              </a:rPr>
              <a:t>Prosjektgruppe </a:t>
            </a:r>
            <a:r>
              <a:rPr lang="nb-NO" sz="3333" dirty="0" err="1" smtClean="0">
                <a:solidFill>
                  <a:schemeClr val="tx1"/>
                </a:solidFill>
              </a:rPr>
              <a:t>prehospitale</a:t>
            </a:r>
            <a:r>
              <a:rPr lang="nb-NO" sz="3333" dirty="0" smtClean="0">
                <a:solidFill>
                  <a:schemeClr val="tx1"/>
                </a:solidFill>
              </a:rPr>
              <a:t> </a:t>
            </a:r>
            <a:r>
              <a:rPr lang="nb-NO" sz="3333" dirty="0" err="1" smtClean="0">
                <a:solidFill>
                  <a:schemeClr val="tx1"/>
                </a:solidFill>
              </a:rPr>
              <a:t>tenester</a:t>
            </a:r>
            <a:r>
              <a:rPr lang="nb-NO" sz="3333" dirty="0" smtClean="0">
                <a:solidFill>
                  <a:schemeClr val="tx1"/>
                </a:solidFill>
              </a:rPr>
              <a:t> fase 3</a:t>
            </a:r>
            <a:endParaRPr lang="nb-NO" sz="3333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862586"/>
              </p:ext>
            </p:extLst>
          </p:nvPr>
        </p:nvGraphicFramePr>
        <p:xfrm>
          <a:off x="726889" y="1748735"/>
          <a:ext cx="10344009" cy="4494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8003">
                  <a:extLst>
                    <a:ext uri="{9D8B030D-6E8A-4147-A177-3AD203B41FA5}">
                      <a16:colId xmlns:a16="http://schemas.microsoft.com/office/drawing/2014/main" val="3126828780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391479876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9899839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Tom</a:t>
                      </a:r>
                      <a:r>
                        <a:rPr lang="nb-NO" sz="1800" b="0" baseline="0" dirty="0" smtClean="0">
                          <a:solidFill>
                            <a:schemeClr val="bg1"/>
                          </a:solidFill>
                        </a:rPr>
                        <a:t> Guldhav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Direktør Kirurgisk</a:t>
                      </a:r>
                      <a:r>
                        <a:rPr lang="nb-NO" sz="1800" b="0" baseline="0" dirty="0" smtClean="0">
                          <a:solidFill>
                            <a:schemeClr val="bg1"/>
                          </a:solidFill>
                        </a:rPr>
                        <a:t> klinikk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err="1" smtClean="0">
                          <a:solidFill>
                            <a:schemeClr val="bg1"/>
                          </a:solidFill>
                        </a:rPr>
                        <a:t>prosjektleiar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7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obert Brennerste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vdelingssjef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657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tian Sægrov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mbulansesjef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54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idar Vi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pesialrådgjev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02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udun Nedrebø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ukarrepresentan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961065"/>
                  </a:ext>
                </a:extLst>
              </a:tr>
              <a:tr h="415612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lin Sørbotten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S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799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idi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derhus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S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628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aniel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øv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6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f Johnny Fjellro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20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eir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ennebø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rnetenesta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053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5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5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927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5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5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66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7233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60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6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nb-NO" sz="3333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calaSans-Bold"/>
              <a:ea typeface="+mj-ea"/>
              <a:cs typeface="Arial" panose="020B0604020202020204" pitchFamily="34" charset="0"/>
              <a:sym typeface="ScalaSans-Bold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98352" y="0"/>
            <a:ext cx="8701088" cy="720090"/>
          </a:xfrm>
        </p:spPr>
        <p:txBody>
          <a:bodyPr>
            <a:normAutofit/>
          </a:bodyPr>
          <a:lstStyle/>
          <a:p>
            <a:r>
              <a:rPr lang="nb-NO" sz="3333" dirty="0" smtClean="0">
                <a:solidFill>
                  <a:schemeClr val="tx1"/>
                </a:solidFill>
              </a:rPr>
              <a:t>Forslag: Arbeidsgruppe Lavik</a:t>
            </a:r>
            <a:endParaRPr lang="nb-NO" sz="3333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869703"/>
              </p:ext>
            </p:extLst>
          </p:nvPr>
        </p:nvGraphicFramePr>
        <p:xfrm>
          <a:off x="698314" y="848623"/>
          <a:ext cx="10344010" cy="4975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5124">
                  <a:extLst>
                    <a:ext uri="{9D8B030D-6E8A-4147-A177-3AD203B41FA5}">
                      <a16:colId xmlns:a16="http://schemas.microsoft.com/office/drawing/2014/main" val="3126828780"/>
                    </a:ext>
                  </a:extLst>
                </a:gridCol>
                <a:gridCol w="2950883">
                  <a:extLst>
                    <a:ext uri="{9D8B030D-6E8A-4147-A177-3AD203B41FA5}">
                      <a16:colId xmlns:a16="http://schemas.microsoft.com/office/drawing/2014/main" val="3391479876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9899839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Robert Brennersted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Helse Førde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err="1" smtClean="0">
                          <a:solidFill>
                            <a:schemeClr val="bg1"/>
                          </a:solidFill>
                        </a:rPr>
                        <a:t>gruppeleiar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73603"/>
                  </a:ext>
                </a:extLst>
              </a:tr>
              <a:tr h="48075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tian Sægrov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657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idar Vi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54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f Otto Hallan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02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Øystein Helleseth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961065"/>
                  </a:ext>
                </a:extLst>
              </a:tr>
              <a:tr h="415612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jartan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ggø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799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elene Høiset Sæterdal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97851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750" kern="1200" dirty="0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g Are </a:t>
                      </a:r>
                      <a:r>
                        <a:rPr lang="nb-NO" sz="1750" kern="1200" dirty="0" err="1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udal</a:t>
                      </a:r>
                      <a:r>
                        <a:rPr lang="nb-NO" sz="1750" kern="1200" dirty="0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nn-NO" sz="1750" kern="1200" dirty="0" smtClean="0">
                        <a:solidFill>
                          <a:srgbClr val="00071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rnetenesta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628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unnbjørg Friis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6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ristine Longfellow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øyanger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20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Martin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undegår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yllestad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053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jaler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927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eir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Ytredal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ukar</a:t>
                      </a:r>
                      <a:r>
                        <a:rPr lang="nb-NO" sz="18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presentan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66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38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10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n-NO" sz="3583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tel 4"/>
          <p:cNvSpPr>
            <a:spLocks noGrp="1"/>
          </p:cNvSpPr>
          <p:nvPr>
            <p:ph type="ctrTitle"/>
          </p:nvPr>
        </p:nvSpPr>
        <p:spPr>
          <a:xfrm>
            <a:off x="1183038" y="462189"/>
            <a:ext cx="8517467" cy="643684"/>
          </a:xfrm>
        </p:spPr>
        <p:txBody>
          <a:bodyPr/>
          <a:lstStyle/>
          <a:p>
            <a:r>
              <a:rPr lang="nn-NO" dirty="0" smtClean="0"/>
              <a:t>Forslag: Mandat arbeidsgruppe Lavik</a:t>
            </a:r>
            <a:endParaRPr lang="nn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6</a:t>
            </a:fld>
            <a:endParaRPr lang="nb-NO"/>
          </a:p>
        </p:txBody>
      </p:sp>
      <p:sp>
        <p:nvSpPr>
          <p:cNvPr id="9" name="Plassholder for innhold 5"/>
          <p:cNvSpPr txBox="1">
            <a:spLocks/>
          </p:cNvSpPr>
          <p:nvPr/>
        </p:nvSpPr>
        <p:spPr>
          <a:xfrm>
            <a:off x="609600" y="1402597"/>
            <a:ext cx="10694858" cy="880223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0" indent="0" algn="l" defTabSz="457091" rtl="0" eaLnBrk="1" latinLnBrk="0" hangingPunct="1">
              <a:spcBef>
                <a:spcPct val="20000"/>
              </a:spcBef>
              <a:buFontTx/>
              <a:buNone/>
              <a:defRPr sz="241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773" indent="-285681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41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2pPr>
            <a:lvl3pPr marL="1142726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116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3pPr>
            <a:lvl4pPr marL="1599817" indent="-228545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4pPr>
            <a:lvl5pPr marL="2056908" indent="-228545" algn="l" defTabSz="457091" rtl="0" eaLnBrk="1" latinLnBrk="0" hangingPunct="1">
              <a:spcBef>
                <a:spcPct val="20000"/>
              </a:spcBef>
              <a:buFont typeface="Arial"/>
              <a:buChar char="»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5pPr>
            <a:lvl6pPr marL="251399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6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n-NO" sz="1600" dirty="0">
                <a:solidFill>
                  <a:srgbClr val="000714"/>
                </a:solidFill>
              </a:rPr>
              <a:t>S</a:t>
            </a:r>
            <a:r>
              <a:rPr lang="nn-NO" sz="1600" dirty="0" smtClean="0">
                <a:solidFill>
                  <a:srgbClr val="000714"/>
                </a:solidFill>
              </a:rPr>
              <a:t>tyret sitt vedtak: </a:t>
            </a:r>
          </a:p>
          <a:p>
            <a:r>
              <a:rPr lang="nn-NO" sz="1600" i="1" dirty="0">
                <a:solidFill>
                  <a:srgbClr val="000714"/>
                </a:solidFill>
              </a:rPr>
              <a:t>Endringane som gjeld døgnbilen i Lavik skal utgreiast vidare, og det skal vurderast alternative modellar. Kommunar, tilsetteorganisasjonar og verneteneste skal takast med i prosessen. Saka vert lagt fram for styret til endeleg avgjerd. </a:t>
            </a:r>
          </a:p>
        </p:txBody>
      </p:sp>
      <p:sp>
        <p:nvSpPr>
          <p:cNvPr id="10" name="Plassholder for innhold 5"/>
          <p:cNvSpPr txBox="1">
            <a:spLocks/>
          </p:cNvSpPr>
          <p:nvPr/>
        </p:nvSpPr>
        <p:spPr>
          <a:xfrm>
            <a:off x="609600" y="2957593"/>
            <a:ext cx="10694858" cy="2997726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0" indent="0" algn="l" defTabSz="457091" rtl="0" eaLnBrk="1" latinLnBrk="0" hangingPunct="1">
              <a:spcBef>
                <a:spcPct val="20000"/>
              </a:spcBef>
              <a:buFontTx/>
              <a:buNone/>
              <a:defRPr sz="241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773" indent="-285681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41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2pPr>
            <a:lvl3pPr marL="1142726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116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3pPr>
            <a:lvl4pPr marL="1599817" indent="-228545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4pPr>
            <a:lvl5pPr marL="2056908" indent="-228545" algn="l" defTabSz="457091" rtl="0" eaLnBrk="1" latinLnBrk="0" hangingPunct="1">
              <a:spcBef>
                <a:spcPct val="20000"/>
              </a:spcBef>
              <a:buFont typeface="Arial"/>
              <a:buChar char="»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5pPr>
            <a:lvl6pPr marL="251399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6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n-NO" sz="1600" dirty="0" smtClean="0">
                <a:solidFill>
                  <a:srgbClr val="000714"/>
                </a:solidFill>
              </a:rPr>
              <a:t>Oppdrag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å gjennom prosjektrapport fase 2, styresak 24.01.2020 og mandat for fase 3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jennomføre ein prosess som sikrar involvering i samsvar med styrevedtak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Utgreie og vurdere alternative modellar for endringane i Lavik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Føreslå modell som inngår i, og byggjer på same prinsippa, som det totale ambulansetilbodet til Helse Førd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Levere eit saksunderlag som gir grunnlag for å utarbeide styresak med framlegg til vedtak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n-NO" sz="1600" dirty="0" smtClean="0">
              <a:solidFill>
                <a:srgbClr val="000714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n-NO" sz="1600" dirty="0">
              <a:solidFill>
                <a:srgbClr val="000714"/>
              </a:solidFill>
            </a:endParaRPr>
          </a:p>
          <a:p>
            <a:r>
              <a:rPr lang="nn-NO" sz="1600" dirty="0" smtClean="0">
                <a:solidFill>
                  <a:srgbClr val="000714"/>
                </a:solidFill>
              </a:rPr>
              <a:t>Tidsfrist: 30. januar 2021</a:t>
            </a:r>
          </a:p>
          <a:p>
            <a:endParaRPr lang="nn-NO" sz="1600" dirty="0" smtClean="0">
              <a:solidFill>
                <a:srgbClr val="0007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73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6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nb-NO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calaSans-Bold"/>
              <a:ea typeface="+mj-ea"/>
              <a:cs typeface="Arial" panose="020B0604020202020204" pitchFamily="34" charset="0"/>
              <a:sym typeface="ScalaSans-Bold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2265" y="126726"/>
            <a:ext cx="8701088" cy="544787"/>
          </a:xfrm>
        </p:spPr>
        <p:txBody>
          <a:bodyPr>
            <a:normAutofit fontScale="90000"/>
          </a:bodyPr>
          <a:lstStyle/>
          <a:p>
            <a:r>
              <a:rPr lang="nb-NO" sz="3333" dirty="0" smtClean="0">
                <a:solidFill>
                  <a:schemeClr val="tx1"/>
                </a:solidFill>
              </a:rPr>
              <a:t>Forslag: Arbeidsgruppe Ytre Bremanger</a:t>
            </a:r>
            <a:endParaRPr lang="nb-NO" sz="3333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/>
          </p:nvPr>
        </p:nvGraphicFramePr>
        <p:xfrm>
          <a:off x="884051" y="671513"/>
          <a:ext cx="10344009" cy="6600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8003">
                  <a:extLst>
                    <a:ext uri="{9D8B030D-6E8A-4147-A177-3AD203B41FA5}">
                      <a16:colId xmlns:a16="http://schemas.microsoft.com/office/drawing/2014/main" val="3126828780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391479876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9899839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Stian Sægrov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Helse Førde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err="1" smtClean="0">
                          <a:solidFill>
                            <a:schemeClr val="bg1"/>
                          </a:solidFill>
                        </a:rPr>
                        <a:t>gruppeleiar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7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457091" rtl="0" eaLnBrk="1" latinLnBrk="0" hangingPunct="1"/>
                      <a:r>
                        <a:rPr lang="nb-NO" sz="18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obert Brennersted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else Førde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6351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457091" rtl="0" eaLnBrk="1" latinLnBrk="0" hangingPunct="1"/>
                      <a:r>
                        <a:rPr lang="nb-NO" sz="18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idar Vie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else Førde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091" rtl="0" eaLnBrk="1" latinLnBrk="0" hangingPunct="1"/>
                      <a:r>
                        <a:rPr lang="nb-NO" sz="1800" kern="12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ltakar</a:t>
                      </a:r>
                      <a:endParaRPr lang="nb-NO" sz="18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657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John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nb-NO" sz="18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llingsun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54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ond Aamo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02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orleiv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Helgheim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961065"/>
                  </a:ext>
                </a:extLst>
              </a:tr>
              <a:tr h="415612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(Robert høyrer med AMK)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799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750" kern="1200" dirty="0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vind Petersen</a:t>
                      </a:r>
                      <a:endParaRPr lang="nb-NO" sz="1800" dirty="0">
                        <a:solidFill>
                          <a:srgbClr val="00071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rnetenesta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3628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f Johnny Fjellro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6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vy</a:t>
                      </a:r>
                      <a:r>
                        <a:rPr lang="nb-NO" sz="1800" baseline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Fjellesta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emanger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20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Anita</a:t>
                      </a:r>
                      <a:r>
                        <a:rPr lang="nb-NO" sz="1800" baseline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Brevik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emanger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053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andi</a:t>
                      </a:r>
                      <a:r>
                        <a:rPr lang="nb-NO" sz="1800" baseline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Ytrehus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emanger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5838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inn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306092"/>
                  </a:ext>
                </a:extLst>
              </a:tr>
              <a:tr h="449258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Irene Storøy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ar i rådet for mennesker med nedsette funksjonsevner/ brukarrepresentan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540093"/>
                  </a:ext>
                </a:extLst>
              </a:tr>
              <a:tr h="449258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Hilde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Larsen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Bremanger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1543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Frida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alaasen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rukar</a:t>
                      </a:r>
                      <a:r>
                        <a:rPr lang="nb-NO" sz="18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presentant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66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27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79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n-NO" sz="3583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609600" y="1415839"/>
            <a:ext cx="10694858" cy="1126444"/>
          </a:xfrm>
        </p:spPr>
        <p:txBody>
          <a:bodyPr/>
          <a:lstStyle/>
          <a:p>
            <a:r>
              <a:rPr lang="nn-NO" sz="1600" dirty="0">
                <a:solidFill>
                  <a:srgbClr val="000714"/>
                </a:solidFill>
              </a:rPr>
              <a:t>S</a:t>
            </a:r>
            <a:r>
              <a:rPr lang="nn-NO" sz="1600" dirty="0" smtClean="0">
                <a:solidFill>
                  <a:srgbClr val="000714"/>
                </a:solidFill>
              </a:rPr>
              <a:t>tyret sitt vedtak: </a:t>
            </a:r>
          </a:p>
          <a:p>
            <a:r>
              <a:rPr lang="nn-NO" sz="1600" i="1" dirty="0" smtClean="0">
                <a:solidFill>
                  <a:srgbClr val="000714"/>
                </a:solidFill>
              </a:rPr>
              <a:t>Administrerande </a:t>
            </a:r>
            <a:r>
              <a:rPr lang="nn-NO" sz="1600" i="1" dirty="0">
                <a:solidFill>
                  <a:srgbClr val="000714"/>
                </a:solidFill>
              </a:rPr>
              <a:t>direktør får i oppdrag å arbeide vidare med omgjering av døgnbil i Ytre Bremanger til einmannsbetent ambulanseressurs, alternativt redusere til ein ambulanse i Bremanger kommune. Kommunar, tilsetteorganisasjonar og verneteneste skal takast med i prosessen. Saka vert lagt fram for styret til endeleg avgjerd.</a:t>
            </a:r>
          </a:p>
        </p:txBody>
      </p:sp>
      <p:sp>
        <p:nvSpPr>
          <p:cNvPr id="5" name="Tittel 4"/>
          <p:cNvSpPr>
            <a:spLocks noGrp="1"/>
          </p:cNvSpPr>
          <p:nvPr>
            <p:ph type="ctrTitle"/>
          </p:nvPr>
        </p:nvSpPr>
        <p:spPr>
          <a:xfrm>
            <a:off x="614766" y="220786"/>
            <a:ext cx="8517467" cy="1195053"/>
          </a:xfrm>
        </p:spPr>
        <p:txBody>
          <a:bodyPr/>
          <a:lstStyle/>
          <a:p>
            <a:r>
              <a:rPr lang="nn-NO" dirty="0" smtClean="0"/>
              <a:t>Forslag: Mandat arbeidsgruppe Ytre Bremanger</a:t>
            </a:r>
            <a:endParaRPr lang="nn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8</a:t>
            </a:fld>
            <a:endParaRPr lang="nb-NO"/>
          </a:p>
        </p:txBody>
      </p:sp>
      <p:sp>
        <p:nvSpPr>
          <p:cNvPr id="9" name="Plassholder for innhold 5"/>
          <p:cNvSpPr txBox="1">
            <a:spLocks/>
          </p:cNvSpPr>
          <p:nvPr/>
        </p:nvSpPr>
        <p:spPr>
          <a:xfrm>
            <a:off x="630264" y="2825858"/>
            <a:ext cx="10694858" cy="2702260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 marL="0" indent="0" algn="l" defTabSz="457091" rtl="0" eaLnBrk="1" latinLnBrk="0" hangingPunct="1">
              <a:spcBef>
                <a:spcPct val="20000"/>
              </a:spcBef>
              <a:buFontTx/>
              <a:buNone/>
              <a:defRPr sz="241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773" indent="-285681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41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2pPr>
            <a:lvl3pPr marL="1142726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1167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3pPr>
            <a:lvl4pPr marL="1599817" indent="-228545" algn="l" defTabSz="457091" rtl="0" eaLnBrk="1" latinLnBrk="0" hangingPunct="1">
              <a:spcBef>
                <a:spcPct val="20000"/>
              </a:spcBef>
              <a:buFont typeface="Arial"/>
              <a:buChar char="–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4pPr>
            <a:lvl5pPr marL="2056908" indent="-228545" algn="l" defTabSz="457091" rtl="0" eaLnBrk="1" latinLnBrk="0" hangingPunct="1">
              <a:spcBef>
                <a:spcPct val="20000"/>
              </a:spcBef>
              <a:buFont typeface="Arial"/>
              <a:buChar char="»"/>
              <a:defRPr sz="1083" kern="1200">
                <a:solidFill>
                  <a:schemeClr val="tx1"/>
                </a:solidFill>
                <a:latin typeface="ScalaSans"/>
                <a:ea typeface="+mn-ea"/>
                <a:cs typeface="ScalaSans"/>
              </a:defRPr>
            </a:lvl5pPr>
            <a:lvl6pPr marL="251399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08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177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268" indent="-228545" algn="l" defTabSz="45709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n-NO" sz="1600" dirty="0" smtClean="0">
                <a:solidFill>
                  <a:srgbClr val="000714"/>
                </a:solidFill>
              </a:rPr>
              <a:t>Oppdrag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å gjennom prosjektrapport fase 2, styresak 24.01.2020 og mandat for fase 3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Gjennomføre ein prosess som sikrar involvering i samsvar med styrevedtak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Detaljere driftsmodell for einmannsbetent ambulanseressurs i Ytre Bremanger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 smtClean="0">
                <a:solidFill>
                  <a:srgbClr val="000714"/>
                </a:solidFill>
              </a:rPr>
              <a:t>Tilrå valt driftsmodell – alternativt tilrå reduksjon til ein ambulanse i Bremanger kommun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600" dirty="0">
                <a:solidFill>
                  <a:srgbClr val="000714"/>
                </a:solidFill>
              </a:rPr>
              <a:t>Levere eit saksunderlag som gir grunnlag for å utarbeide styresak med framlegg til vedtak.</a:t>
            </a:r>
          </a:p>
          <a:p>
            <a:endParaRPr lang="nn-NO" sz="1600" dirty="0" smtClean="0">
              <a:solidFill>
                <a:srgbClr val="000714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n-NO" sz="1600" dirty="0">
              <a:solidFill>
                <a:srgbClr val="000714"/>
              </a:solidFill>
            </a:endParaRPr>
          </a:p>
          <a:p>
            <a:r>
              <a:rPr lang="nn-NO" sz="1600" dirty="0" smtClean="0">
                <a:solidFill>
                  <a:srgbClr val="000714"/>
                </a:solidFill>
              </a:rPr>
              <a:t>Tidsfrist: 30.01.2021</a:t>
            </a:r>
          </a:p>
        </p:txBody>
      </p:sp>
    </p:spTree>
    <p:extLst>
      <p:ext uri="{BB962C8B-B14F-4D97-AF65-F5344CB8AC3E}">
        <p14:creationId xmlns:p14="http://schemas.microsoft.com/office/powerpoint/2010/main" val="164705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275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6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nb-NO" sz="3333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calaSans-Bold"/>
              <a:ea typeface="+mj-ea"/>
              <a:cs typeface="Arial" panose="020B0604020202020204" pitchFamily="34" charset="0"/>
              <a:sym typeface="ScalaSans-Bold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26914" y="0"/>
            <a:ext cx="8701088" cy="720090"/>
          </a:xfrm>
        </p:spPr>
        <p:txBody>
          <a:bodyPr>
            <a:normAutofit/>
          </a:bodyPr>
          <a:lstStyle/>
          <a:p>
            <a:r>
              <a:rPr lang="nb-NO" sz="3333" dirty="0" smtClean="0">
                <a:solidFill>
                  <a:schemeClr val="tx1"/>
                </a:solidFill>
              </a:rPr>
              <a:t>Forslag: Arbeidsgruppe Hornindal - Volda</a:t>
            </a:r>
            <a:endParaRPr lang="nb-NO" sz="3333" dirty="0">
              <a:solidFill>
                <a:schemeClr val="tx1"/>
              </a:solidFill>
            </a:endParaRPr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548960"/>
              </p:ext>
            </p:extLst>
          </p:nvPr>
        </p:nvGraphicFramePr>
        <p:xfrm>
          <a:off x="712602" y="720090"/>
          <a:ext cx="10344009" cy="4709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8003">
                  <a:extLst>
                    <a:ext uri="{9D8B030D-6E8A-4147-A177-3AD203B41FA5}">
                      <a16:colId xmlns:a16="http://schemas.microsoft.com/office/drawing/2014/main" val="3126828780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391479876"/>
                    </a:ext>
                  </a:extLst>
                </a:gridCol>
                <a:gridCol w="3448003">
                  <a:extLst>
                    <a:ext uri="{9D8B030D-6E8A-4147-A177-3AD203B41FA5}">
                      <a16:colId xmlns:a16="http://schemas.microsoft.com/office/drawing/2014/main" val="39899839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Stian</a:t>
                      </a:r>
                      <a:r>
                        <a:rPr lang="nb-NO" sz="1800" b="0" baseline="0" dirty="0" smtClean="0">
                          <a:solidFill>
                            <a:schemeClr val="bg1"/>
                          </a:solidFill>
                        </a:rPr>
                        <a:t> Sægrov</a:t>
                      </a:r>
                      <a:endParaRPr lang="nb-NO" sz="1800" b="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smtClean="0">
                          <a:solidFill>
                            <a:schemeClr val="bg1"/>
                          </a:solidFill>
                        </a:rPr>
                        <a:t>Helse Førde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b="0" dirty="0" err="1" smtClean="0">
                          <a:solidFill>
                            <a:schemeClr val="bg1"/>
                          </a:solidFill>
                        </a:rPr>
                        <a:t>gruppeleiar</a:t>
                      </a:r>
                      <a:endParaRPr lang="nb-NO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736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f Magne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Giil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4657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one Holvik (Laila Haugland?)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3954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Leif Otto Halland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02970"/>
                  </a:ext>
                </a:extLst>
              </a:tr>
              <a:tr h="330518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idar Vi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b="0" dirty="0" smtClean="0">
                          <a:solidFill>
                            <a:srgbClr val="000714"/>
                          </a:solidFill>
                        </a:rPr>
                        <a:t>Helse Førde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9610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aniel </a:t>
                      </a: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øv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illitsvalt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0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13800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750" kern="1200" dirty="0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ir </a:t>
                      </a:r>
                      <a:r>
                        <a:rPr lang="nb-NO" sz="1750" kern="1200" dirty="0" err="1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nebø</a:t>
                      </a:r>
                      <a:r>
                        <a:rPr lang="nb-NO" sz="1750" kern="1200" dirty="0" smtClean="0">
                          <a:solidFill>
                            <a:srgbClr val="000714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nb-NO" sz="1800" dirty="0">
                        <a:solidFill>
                          <a:srgbClr val="00071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Vernetenesta</a:t>
                      </a:r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Helse Førd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161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Kristianne Nor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Nordfjord legevakt og Stad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6539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Marius</a:t>
                      </a:r>
                      <a:r>
                        <a:rPr lang="nb-NO" sz="18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Solbakken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tryn kommune</a:t>
                      </a:r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eltakar</a:t>
                      </a:r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8209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10530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6927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 smtClean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663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0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9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BEsq83S_EqUs3h7NcH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IEpKGEOVTwqw4kcW5T6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VEcgMtPicy4M2HqBA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QKHUFGvlOwkt16_u4IP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ZgoSkwmptY.s6ftHlhw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EsQpYqLw6bXVPNHV52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2U58sb7Pbg0tWnLZGR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cixFK1qdckSxrHi9nre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IrsdQpusTDqV7XkJr0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DwY7rc1UlqIEV5l1fc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s4EyLePB8W7GJEIPJTJ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TPOOkB7xJozwJMmI2j_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BiFWwCotQVGS9t.d58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O1qonIhXBNOJ.yjGOf4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dCg.4L545C65XvyPNXO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rRRtKtP0feqQf1_z3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3_xk4oYaIdqLL5onNJA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YtcIXQFOR8VWHgXci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5kq.IThX8p1NQ_tmMJ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YtcIXQFOR8VWHgXci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LlW9hczaJGBooA3wUJ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YtcIXQFOR8VWHgXci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ou50PVcSHb7QC9OVF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cgUfIW.BszmGPH6GG6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aX4wsiYzi4_slBhOdl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S7xtUCNha2V7lVrpkI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70d1lF2O7GdyCinJ0A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FHYwJU.O4rPUc5by6v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liaPiW9gLzYyumP8WB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K1V.8LROBRPA8ykbNj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9FBLzANDSiOND1BtOf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HSgEDNtLDWcDhey6.B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uP8cSB_PWCNTjMmGjL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FZuw4E6E2BkDpr1Swi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ewEoRzKzFiG22yVf86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.JF3pDSwWn6l5xJFS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gFhfA5AcVUi4Zsos23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040tOl4kpc1xVU2.aEi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JviaMhJ1pC6FzXtiWj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gTQO9TyE4eUjK.R7tt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HGzTcOaAhuODpq6MRo_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qUsVMWpWRqT1WjnE6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24mbvYnOp4YHgP3121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VOd8i82WWg2u1poHjg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PfeT4Yg8oGpgwFNcx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jcYZ89icdgaWOITudF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gl3FSJp0SJAMZlg73p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wEXeVXEPAJjeQHvdeJ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RmLcljl1Bo8fWztD0b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8u30wt5k2fO705q7By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Z1wCcsvTc9AR0Zzhcn6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ZCnOF07NpAJVqKeUl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2sNb1xrKGCkmAgz541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mzQpp5gjpNeFwfXIxV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obypy_NN0.avoAaHx0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qiVcAZSQkjq9oso5ob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DruhEKhQ2sb1g.cgrz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XWp8O51np2_60B9RCT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SO9Hz5jwucYrUHhPa8f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cFNIY6csYMf8E8YTWL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5WrjOpi06TGo9iGJr7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5PJkHkZBFl_wUVYmJe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RY7_Rck9wzRTnvhKQ5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XMwA1TEWaKhFs1FF0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KvukI48KQelDxkxkbh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66XfuTmkIX3OqXnBeR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XH2xuo5UvtjDMlguWU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V9kWUV7rlOGlKCFnb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YtcIXQFOR8VWHgXci1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RtFjntMIrxSdY_vcH47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v.kLolzwwvKZBYv0W3Q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X7wuTUE8iSCCGe0gKc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v8DvcyZ5DL9dCsyQWN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pDuvfBNnmzC8vjT73X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bGT.5l6AAQqTJg_eGgl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6cCNouPHleeN9C.l3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NrE_OAN0l1HS69tzcM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.PBcUfvLECDN7NmmBT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6OfaxoZtUq0apJug6y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8QB.RyhRLnAub_QmscU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8K5.F13EnvceW.dNJ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RgNX7JniYJtWH192GQ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292qwH2mGFXIjxweVF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Xh1UR6nDK_Aek_9JG9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HMWQn1O6uP6IQzQb8.1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O8mlWhi2bH3gYtMe3X1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mmGz9qbwItaG0JGC7T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bVxKwB55_fI8GNFiT9H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dW23HQnyC.V9KtrzA6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oYtcIXQFOR8VWHgXci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UUxKe3qIzqPSrHXoGLF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G1PmghWTDOsAvbBwZvz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DBNFcc.SdlEDGIdNCZ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oFBF8nMxM4oUIphwA7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nTifUL.bBEeYFaxCQC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.yCD8HobwgxwrkG4Gy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7bmvulF0VdHgh.rMqSf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BNe5YtlZVWQ.uXDmCL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4SutpDb8zsr1rtSXj3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01RtKE6yUxy5z3LSrVhg"/>
</p:tagLst>
</file>

<file path=ppt/theme/theme1.xml><?xml version="1.0" encoding="utf-8"?>
<a:theme xmlns:a="http://schemas.openxmlformats.org/drawingml/2006/main" name="2018-03-20 Møtepresentasjon programleiing og styringsgruppe">
  <a:themeElements>
    <a:clrScheme name="Helse Vest">
      <a:dk1>
        <a:srgbClr val="00338D"/>
      </a:dk1>
      <a:lt1>
        <a:sysClr val="window" lastClr="FFFFFF"/>
      </a:lt1>
      <a:dk2>
        <a:srgbClr val="00338D"/>
      </a:dk2>
      <a:lt2>
        <a:srgbClr val="EEECE1"/>
      </a:lt2>
      <a:accent1>
        <a:srgbClr val="7AB2DC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338D"/>
      </a:hlink>
      <a:folHlink>
        <a:srgbClr val="0033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-03-20 Møtepresentasjon programleiing og styringsgruppe" id="{F27EFBCE-EE9A-4F9A-A034-87F72539CB7D}" vid="{9D02DD5E-910D-4D67-84D2-875DEEF3F0F6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A7A599B1562CD408A764557326C88C3" ma:contentTypeVersion="0" ma:contentTypeDescription="Opprett et nytt dokument." ma:contentTypeScope="" ma:versionID="9db0fe33a644f9cc303ea1f07a148b3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e2500873ed525c1cf306a41cba81e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25B251-28E3-4725-A1BB-3409062DD5D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F08C5E-2177-4623-AA56-8C4A99EED28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49C9905-3AB5-43C3-AA17-EE8A3C2E6A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297</TotalTime>
  <Words>915</Words>
  <Application>Microsoft Office PowerPoint</Application>
  <PresentationFormat>Widescreen</PresentationFormat>
  <Paragraphs>277</Paragraphs>
  <Slides>15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5</vt:i4>
      </vt:variant>
    </vt:vector>
  </HeadingPairs>
  <TitlesOfParts>
    <vt:vector size="22" baseType="lpstr">
      <vt:lpstr>Arial</vt:lpstr>
      <vt:lpstr>Calibri</vt:lpstr>
      <vt:lpstr>ScalaSans</vt:lpstr>
      <vt:lpstr>ScalaSans-Bold</vt:lpstr>
      <vt:lpstr>Wingdings</vt:lpstr>
      <vt:lpstr>2018-03-20 Møtepresentasjon programleiing og styringsgruppe</vt:lpstr>
      <vt:lpstr>think-cell Slide</vt:lpstr>
      <vt:lpstr>Prehospital plan fase 3 – orientering.</vt:lpstr>
      <vt:lpstr>PowerPoint-presentasjon</vt:lpstr>
      <vt:lpstr>PowerPoint-presentasjon</vt:lpstr>
      <vt:lpstr>Prosjektgruppe prehospitale tenester fase 3</vt:lpstr>
      <vt:lpstr>Forslag: Arbeidsgruppe Lavik</vt:lpstr>
      <vt:lpstr>Forslag: Mandat arbeidsgruppe Lavik</vt:lpstr>
      <vt:lpstr>Forslag: Arbeidsgruppe Ytre Bremanger</vt:lpstr>
      <vt:lpstr>Forslag: Mandat arbeidsgruppe Ytre Bremanger</vt:lpstr>
      <vt:lpstr>Forslag: Arbeidsgruppe Hornindal - Volda</vt:lpstr>
      <vt:lpstr>Forslag: Mandat arbeidsgruppe Hornindal - Volda</vt:lpstr>
      <vt:lpstr>Forslag: Arbeidsgruppe samhandling</vt:lpstr>
      <vt:lpstr>Forslag: Mandat arbeidsgruppe samhandling</vt:lpstr>
      <vt:lpstr>Utkast overordna tidsplan</vt:lpstr>
      <vt:lpstr>Utkast overordna tidsplan</vt:lpstr>
      <vt:lpstr>PowerPoint-presentasjon</vt:lpstr>
    </vt:vector>
  </TitlesOfParts>
  <Company>Helse Ve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gkart og  organisering</dc:title>
  <dc:creator>Undertun, Tone</dc:creator>
  <cp:lastModifiedBy>Guldhav, Tom</cp:lastModifiedBy>
  <cp:revision>169</cp:revision>
  <cp:lastPrinted>2019-11-26T10:49:06Z</cp:lastPrinted>
  <dcterms:created xsi:type="dcterms:W3CDTF">2019-11-18T12:03:14Z</dcterms:created>
  <dcterms:modified xsi:type="dcterms:W3CDTF">2020-09-30T07:5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7A599B1562CD408A764557326C88C3</vt:lpwstr>
  </property>
</Properties>
</file>